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</p:sldMasterIdLst>
  <p:notesMasterIdLst>
    <p:notesMasterId r:id="rId21"/>
  </p:notesMasterIdLst>
  <p:sldIdLst>
    <p:sldId id="275" r:id="rId3"/>
    <p:sldId id="266" r:id="rId4"/>
    <p:sldId id="295" r:id="rId5"/>
    <p:sldId id="294" r:id="rId6"/>
    <p:sldId id="293" r:id="rId7"/>
    <p:sldId id="290" r:id="rId8"/>
    <p:sldId id="291" r:id="rId9"/>
    <p:sldId id="301" r:id="rId10"/>
    <p:sldId id="263" r:id="rId11"/>
    <p:sldId id="296" r:id="rId12"/>
    <p:sldId id="303" r:id="rId13"/>
    <p:sldId id="297" r:id="rId14"/>
    <p:sldId id="300" r:id="rId15"/>
    <p:sldId id="298" r:id="rId16"/>
    <p:sldId id="299" r:id="rId17"/>
    <p:sldId id="302" r:id="rId18"/>
    <p:sldId id="304" r:id="rId19"/>
    <p:sldId id="289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CC5C87"/>
    <a:srgbClr val="EBF0F9"/>
    <a:srgbClr val="3F4E63"/>
    <a:srgbClr val="364254"/>
    <a:srgbClr val="262626"/>
    <a:srgbClr val="DAE3F3"/>
    <a:srgbClr val="FF5D37"/>
    <a:srgbClr val="F63233"/>
    <a:srgbClr val="3B35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21" autoAdjust="0"/>
    <p:restoredTop sz="91534" autoAdjust="0"/>
  </p:normalViewPr>
  <p:slideViewPr>
    <p:cSldViewPr snapToGrid="0" showGuides="1">
      <p:cViewPr varScale="1">
        <p:scale>
          <a:sx n="73" d="100"/>
          <a:sy n="73" d="100"/>
        </p:scale>
        <p:origin x="468" y="44"/>
      </p:cViewPr>
      <p:guideLst>
        <p:guide orient="horz" pos="2136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8D3F7D-F1E3-4B5E-92D7-47C861DAD684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D3C6AD-AF80-4181-B3EE-0F7B483B0C1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0363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71350-6A72-4395-AC93-A4DDAEE30E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29086E-CFA6-409A-88BA-F7098F983C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711FA9-2EBE-4F06-B4BE-6E01D527D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2897A8-3BF5-4571-B765-3486FF33C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DE8831-FE56-42C9-AC24-0AECA9FCF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86125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09B3E-4DD6-465F-BBCD-C6E2EF80B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72E489-8FBC-4190-BE06-17BE1213C4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63DFA2-C1EC-44EE-AE17-CDFF8DE33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3F0DB9-B483-45B7-8C36-3506031CB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5EC531-0BE9-452A-97C6-CAFB61889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01405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B90263-718A-42E4-83CF-39F654D53B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36AE9F-7FCE-41DA-8050-E87E1C56CE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8BB158-1AEE-454E-A9A4-E0EA4CBA3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39CA1-68CD-4DBF-9CB6-8EFF0E65D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8B5970-4CD3-4E0F-A73A-7EA99B486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85072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3980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48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441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9939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9239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059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3544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588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40E71-A41A-47AE-AC01-ADEA9CDFA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C6ACB8-BA0B-4FAD-BE96-06708AB608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4B29B4-B2A2-4568-A91A-CCC6F544C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C59C25-C713-4C11-A0F6-0C27B5FAE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4C54D-BEDB-467A-8B86-05480D286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31467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0573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973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069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5D266-0212-4CBE-9909-C20F22647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034E0-C770-4712-9B75-3184ED56B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439F2A-B257-4AE0-B92B-5AB4BAF24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104A5-DE69-4E9C-A562-E043A60EC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8B7170-466B-42EF-BCB7-FCC39B7E7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83993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E21F6-283F-4DC6-BF8C-ADB4BB332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C530A0-F030-40D3-8E4A-00CA9BBD12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A9F48F-2244-4208-AB3B-61033D9EB7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687B1D-61E8-4F4C-B669-07C08C6EF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B524AD-16DF-44CE-A696-14615770C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023308-A5AC-4B5F-BD73-E9DFD96BC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5174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B1942-2F7D-4941-A68E-91769F17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A2F5A-28F3-45AA-BEB8-6AC4E387DF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3F3460-3D76-4B02-84E9-7092C74802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B887A3-3909-4B70-B9FC-E2ABB4EFDC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CD001F-50B1-4361-8D5B-61C97F51A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5C640F-885D-40ED-A603-BF21948AD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274A7A-73A3-4A2B-BD85-B3B1A60C60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8A14C7-8D2E-4330-8A56-DF32B7E93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048318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D73C9-20D6-4852-BB7F-0F7CDD44E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C5903D-1F5E-4DFC-9FD1-64A65CD115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2B462A-9D47-4CF1-BB93-5E80A4D20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3CE8E-E603-4A25-9FAC-3E79333DA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2780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D951B1-54A3-416C-BED3-485087A28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5BFF88-7B9A-4ACF-B3A6-99D17E9EDF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85518F-73DF-4711-9E8D-50889D4FA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31150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DB6E5-41CE-41D0-98D9-2C80775A2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CB4BC4-5DD2-4B90-8B7E-B445379C71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E7608B-133E-4534-B93F-115D2B5286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5A6117-5923-40A0-B014-BC7B5614D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079005-5575-44E3-A559-8CCDC00DF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53F687-4DAB-4EE7-8A0F-F75750D5B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8220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0575C-9899-4F06-9F48-B21C0EB54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16215B7-6138-4079-B0FE-BB50E79196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9A142F-FFFC-4AC6-BA82-3E5CC2F128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12BC77-6CE0-48C0-B163-AFABEB1FC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7C55D1-5984-4AD9-AC14-FA6542205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F6E98-5525-4012-B40D-C40CED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8706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97E305-F4B2-42DE-9598-A51C5F7BD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01A4F8-771E-465A-A84C-93D9AFDA2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43094-A141-4988-A9F7-70E4A6607F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F41A2C-2830-4963-A671-2438E968C526}" type="datetimeFigureOut">
              <a:rPr lang="en-ID" smtClean="0"/>
              <a:t>02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24C59-61E2-4049-BF75-031C2E476D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835BE-DDA9-46FA-AEB1-27CED96A8C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AE027F-A677-4396-B2AC-C7796A810D8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2166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79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454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media" Target="../media/media4.mp4"/><Relationship Id="rId7" Type="http://schemas.openxmlformats.org/officeDocument/2006/relationships/image" Target="../media/image32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31.png"/><Relationship Id="rId5" Type="http://schemas.openxmlformats.org/officeDocument/2006/relationships/slideLayout" Target="../slideLayouts/slideLayout13.xml"/><Relationship Id="rId4" Type="http://schemas.openxmlformats.org/officeDocument/2006/relationships/video" Target="../media/media4.mp4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12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8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18F5F205-0241-45A4-9083-7D6EA7EE4302}"/>
              </a:ext>
            </a:extLst>
          </p:cNvPr>
          <p:cNvSpPr/>
          <p:nvPr/>
        </p:nvSpPr>
        <p:spPr>
          <a:xfrm>
            <a:off x="-1" y="-1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712A683-007A-4CF3-874E-F6CC4E14E10F}"/>
              </a:ext>
            </a:extLst>
          </p:cNvPr>
          <p:cNvSpPr/>
          <p:nvPr/>
        </p:nvSpPr>
        <p:spPr>
          <a:xfrm flipV="1">
            <a:off x="2547811" y="1422400"/>
            <a:ext cx="3358494" cy="3358448"/>
          </a:xfrm>
          <a:prstGeom prst="ellips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  <a:gs pos="30000">
                <a:schemeClr val="accent1">
                  <a:lumMod val="60000"/>
                  <a:lumOff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schemeClr val="bg1">
                <a:alpha val="18000"/>
              </a:scheme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17F3A87-C4C3-409E-A028-E66D6F8760EE}"/>
              </a:ext>
            </a:extLst>
          </p:cNvPr>
          <p:cNvSpPr/>
          <p:nvPr/>
        </p:nvSpPr>
        <p:spPr>
          <a:xfrm>
            <a:off x="2777945" y="1650137"/>
            <a:ext cx="2890079" cy="2890079"/>
          </a:xfrm>
          <a:prstGeom prst="ellipse">
            <a:avLst/>
          </a:prstGeom>
          <a:gradFill>
            <a:gsLst>
              <a:gs pos="0">
                <a:schemeClr val="bg1">
                  <a:alpha val="5000"/>
                </a:schemeClr>
              </a:gs>
              <a:gs pos="100000">
                <a:schemeClr val="accent1">
                  <a:lumMod val="20000"/>
                  <a:lumOff val="80000"/>
                  <a:alpha val="13000"/>
                </a:schemeClr>
              </a:gs>
              <a:gs pos="30000">
                <a:schemeClr val="bg1">
                  <a:alpha val="20000"/>
                </a:schemeClr>
              </a:gs>
            </a:gsLst>
            <a:lin ang="5400000" scaled="0"/>
          </a:gradFill>
          <a:ln w="6350" cap="flat" cmpd="sng" algn="ctr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DFB93BD-E405-40D8-B0BB-1BFFF6DD4F30}"/>
              </a:ext>
            </a:extLst>
          </p:cNvPr>
          <p:cNvSpPr/>
          <p:nvPr/>
        </p:nvSpPr>
        <p:spPr>
          <a:xfrm>
            <a:off x="-1" y="4165403"/>
            <a:ext cx="12192001" cy="2692587"/>
          </a:xfrm>
          <a:prstGeom prst="rect">
            <a:avLst/>
          </a:prstGeom>
          <a:gradFill>
            <a:gsLst>
              <a:gs pos="1000">
                <a:schemeClr val="accent1">
                  <a:lumMod val="20000"/>
                  <a:lumOff val="80000"/>
                </a:schemeClr>
              </a:gs>
              <a:gs pos="100000">
                <a:schemeClr val="bg1">
                  <a:alpha val="79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9CE7723-9220-460F-B79F-EB29B623AA51}"/>
              </a:ext>
            </a:extLst>
          </p:cNvPr>
          <p:cNvSpPr/>
          <p:nvPr/>
        </p:nvSpPr>
        <p:spPr>
          <a:xfrm flipV="1">
            <a:off x="4263105" y="5320240"/>
            <a:ext cx="642421" cy="642410"/>
          </a:xfrm>
          <a:prstGeom prst="ellipse">
            <a:avLst/>
          </a:prstGeom>
          <a:gradFill>
            <a:gsLst>
              <a:gs pos="37000">
                <a:srgbClr val="CC5C87"/>
              </a:gs>
              <a:gs pos="100000">
                <a:schemeClr val="accent4"/>
              </a:gs>
              <a:gs pos="76000">
                <a:srgbClr val="FF5D37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56779-F7AF-4860-9D60-012A3CC4D635}"/>
              </a:ext>
            </a:extLst>
          </p:cNvPr>
          <p:cNvSpPr/>
          <p:nvPr/>
        </p:nvSpPr>
        <p:spPr>
          <a:xfrm flipH="1" flipV="1">
            <a:off x="8254936" y="2793104"/>
            <a:ext cx="200892" cy="200891"/>
          </a:xfrm>
          <a:prstGeom prst="ellipse">
            <a:avLst/>
          </a:prstGeom>
          <a:gradFill>
            <a:gsLst>
              <a:gs pos="37000">
                <a:srgbClr val="CC5C87">
                  <a:alpha val="43000"/>
                </a:srgbClr>
              </a:gs>
              <a:gs pos="100000">
                <a:schemeClr val="accent4">
                  <a:alpha val="43000"/>
                </a:schemeClr>
              </a:gs>
              <a:gs pos="76000">
                <a:srgbClr val="FF5D37">
                  <a:alpha val="43000"/>
                </a:srgbClr>
              </a:gs>
              <a:gs pos="0">
                <a:srgbClr val="3B354B">
                  <a:alpha val="43000"/>
                </a:srgb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8D6CDDC-BE87-4C7E-B304-0841CF3BB13E}"/>
              </a:ext>
            </a:extLst>
          </p:cNvPr>
          <p:cNvSpPr/>
          <p:nvPr/>
        </p:nvSpPr>
        <p:spPr>
          <a:xfrm>
            <a:off x="2155301" y="1769219"/>
            <a:ext cx="175174" cy="175170"/>
          </a:xfrm>
          <a:prstGeom prst="ellipse">
            <a:avLst/>
          </a:prstGeom>
          <a:gradFill>
            <a:gsLst>
              <a:gs pos="0">
                <a:schemeClr val="accent1">
                  <a:lumMod val="20000"/>
                  <a:lumOff val="80000"/>
                  <a:alpha val="43000"/>
                </a:schemeClr>
              </a:gs>
              <a:gs pos="100000">
                <a:schemeClr val="bg1">
                  <a:lumMod val="95000"/>
                  <a:alpha val="43000"/>
                </a:schemeClr>
              </a:gs>
              <a:gs pos="30000">
                <a:schemeClr val="accent1">
                  <a:lumMod val="60000"/>
                  <a:lumOff val="40000"/>
                  <a:alpha val="43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D450EB6-394A-43E7-91B1-CE8CDBFD2FDB}"/>
              </a:ext>
            </a:extLst>
          </p:cNvPr>
          <p:cNvSpPr/>
          <p:nvPr/>
        </p:nvSpPr>
        <p:spPr>
          <a:xfrm flipH="1" flipV="1">
            <a:off x="9253071" y="4347411"/>
            <a:ext cx="238268" cy="238266"/>
          </a:xfrm>
          <a:prstGeom prst="ellipse">
            <a:avLst/>
          </a:prstGeom>
          <a:gradFill>
            <a:gsLst>
              <a:gs pos="0">
                <a:schemeClr val="accent1">
                  <a:lumMod val="20000"/>
                  <a:lumOff val="80000"/>
                  <a:alpha val="43000"/>
                </a:schemeClr>
              </a:gs>
              <a:gs pos="100000">
                <a:schemeClr val="bg1">
                  <a:lumMod val="95000"/>
                  <a:alpha val="43000"/>
                </a:schemeClr>
              </a:gs>
              <a:gs pos="30000">
                <a:schemeClr val="accent1">
                  <a:lumMod val="60000"/>
                  <a:lumOff val="40000"/>
                  <a:alpha val="43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870D2FB-509E-4A55-A3BD-1E6CE630C4E2}"/>
              </a:ext>
            </a:extLst>
          </p:cNvPr>
          <p:cNvSpPr txBox="1"/>
          <p:nvPr/>
        </p:nvSpPr>
        <p:spPr>
          <a:xfrm>
            <a:off x="1352375" y="2465744"/>
            <a:ext cx="6662956" cy="2123658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accent1">
                <a:lumMod val="20000"/>
                <a:lumOff val="80000"/>
                <a:alpha val="35000"/>
              </a:scheme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713232">
              <a:defRPr/>
            </a:pPr>
            <a:r>
              <a:rPr lang="en-US" sz="13800" spc="300" dirty="0">
                <a:solidFill>
                  <a:schemeClr val="tx2"/>
                </a:solidFill>
                <a:effectLst>
                  <a:outerShdw blurRad="508000" dist="114300" dir="9300000" sx="101000" sy="101000" algn="tl" rotWithShape="0">
                    <a:srgbClr val="FB9F9F">
                      <a:alpha val="50000"/>
                    </a:srgbClr>
                  </a:outerShdw>
                </a:effectLst>
                <a:latin typeface="Modern No. 20" panose="02070704070505020303" pitchFamily="18" charset="0"/>
              </a:rPr>
              <a:t>Shar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C47B85C-CD73-4DD4-BDA5-40D8492316F3}"/>
              </a:ext>
            </a:extLst>
          </p:cNvPr>
          <p:cNvSpPr/>
          <p:nvPr/>
        </p:nvSpPr>
        <p:spPr>
          <a:xfrm flipH="1" flipV="1">
            <a:off x="6432112" y="4792899"/>
            <a:ext cx="441644" cy="441644"/>
          </a:xfrm>
          <a:prstGeom prst="ellips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  <a:gs pos="30000">
                <a:schemeClr val="accent1">
                  <a:lumMod val="60000"/>
                  <a:lumOff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84E34E1-F22C-484B-81BD-1A18D9594B7C}"/>
              </a:ext>
            </a:extLst>
          </p:cNvPr>
          <p:cNvSpPr txBox="1"/>
          <p:nvPr/>
        </p:nvSpPr>
        <p:spPr>
          <a:xfrm>
            <a:off x="3110448" y="2194076"/>
            <a:ext cx="223321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algn="ctr" defTabSz="7132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 dirty="0">
                <a:solidFill>
                  <a:schemeClr val="bg1"/>
                </a:solidFill>
                <a:effectLst>
                  <a:outerShdw blurRad="508000" dist="114300" dir="9300000" sx="101000" sy="101000" algn="tl" rotWithShape="0">
                    <a:schemeClr val="accent1">
                      <a:lumMod val="50000"/>
                      <a:alpha val="50000"/>
                    </a:schemeClr>
                  </a:outerShdw>
                </a:effectLst>
                <a:latin typeface="Lucida Sans" panose="020B0602030504020204" pitchFamily="34" charset="0"/>
              </a:rPr>
              <a:t>DiGi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C00EDCE-EB83-4958-9FAB-3D57EB067342}"/>
              </a:ext>
            </a:extLst>
          </p:cNvPr>
          <p:cNvSpPr/>
          <p:nvPr/>
        </p:nvSpPr>
        <p:spPr>
          <a:xfrm flipH="1" flipV="1">
            <a:off x="902854" y="4035921"/>
            <a:ext cx="290981" cy="290979"/>
          </a:xfrm>
          <a:prstGeom prst="ellipse">
            <a:avLst/>
          </a:prstGeom>
          <a:gradFill>
            <a:gsLst>
              <a:gs pos="37000">
                <a:srgbClr val="CC5C87">
                  <a:alpha val="43000"/>
                </a:srgbClr>
              </a:gs>
              <a:gs pos="100000">
                <a:schemeClr val="accent4">
                  <a:alpha val="43000"/>
                </a:schemeClr>
              </a:gs>
              <a:gs pos="76000">
                <a:srgbClr val="FF5D37">
                  <a:alpha val="43000"/>
                </a:srgbClr>
              </a:gs>
              <a:gs pos="0">
                <a:srgbClr val="3B354B">
                  <a:alpha val="43000"/>
                </a:srgb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825500" dist="241300" dir="8100000" algn="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5EDEBF8-72E4-403C-91AA-989A7F027684}"/>
              </a:ext>
            </a:extLst>
          </p:cNvPr>
          <p:cNvSpPr txBox="1"/>
          <p:nvPr/>
        </p:nvSpPr>
        <p:spPr>
          <a:xfrm>
            <a:off x="3033694" y="4380094"/>
            <a:ext cx="23785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13232">
              <a:defRPr/>
            </a:pPr>
            <a:r>
              <a:rPr lang="en-US" sz="1600" b="1" dirty="0">
                <a:solidFill>
                  <a:schemeClr val="bg1"/>
                </a:solidFill>
                <a:effectLst>
                  <a:outerShdw blurRad="508000" dist="114300" dir="9300000" sx="101000" sy="101000" algn="tl" rotWithShape="0">
                    <a:schemeClr val="accent1">
                      <a:lumMod val="60000"/>
                      <a:lumOff val="40000"/>
                      <a:alpha val="50000"/>
                    </a:schemeClr>
                  </a:outerShdw>
                </a:effectLst>
                <a:latin typeface="Lucida Sans" panose="020B0602030504020204" pitchFamily="34" charset="0"/>
              </a:rPr>
              <a:t>Droid Rush 2020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BA25E8-4B0B-4346-B273-02C44EB93C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0012" y="22866"/>
            <a:ext cx="1777553" cy="15053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436F445-4EBB-46E0-995F-4C015974C6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93399"/>
            <a:ext cx="2247605" cy="116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29766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32CD08-B3ED-457C-B818-0FF71A208E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941" y="0"/>
            <a:ext cx="316523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48ED398-9397-4D79-9A0D-84DFA56341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731" y="0"/>
            <a:ext cx="31652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999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WhatsApp Video 2020-11-02 at 7.06.30 PM">
            <a:hlinkClick r:id="" action="ppaction://media"/>
            <a:extLst>
              <a:ext uri="{FF2B5EF4-FFF2-40B4-BE49-F238E27FC236}">
                <a16:creationId xmlns:a16="http://schemas.microsoft.com/office/drawing/2014/main" id="{E7D8F8F2-3E8A-4758-8FD9-7AB9D897C5E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276397" y="0"/>
            <a:ext cx="3429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262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00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D60B53-15CF-48A8-A260-F9C7787DE2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6982" y="0"/>
            <a:ext cx="316110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763E9B-3013-4332-85F0-E6DF5899FB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266" y="0"/>
            <a:ext cx="3161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545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9D4B71D-9D2F-4A00-85C7-8BA1A708CD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110" y="0"/>
            <a:ext cx="316523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456FB2B-F2B2-482F-9207-0A116E372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426" y="0"/>
            <a:ext cx="31652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671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oss Platform Sharing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lang="en-US" sz="16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haring </a:t>
            </a:r>
            <a:r>
              <a:rPr lang="en-US" sz="2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les From your phone to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vices like Computer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 secu</a:t>
            </a:r>
            <a:r>
              <a:rPr lang="en-US" sz="2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ty</a:t>
            </a:r>
            <a:r>
              <a:rPr lang="en-US" sz="2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urpose you can add user Name and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word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468F07-61E5-429C-9125-CF9AFB64FE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746" y="147144"/>
            <a:ext cx="2923658" cy="57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4682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WhatsApp Video 2020-11-02 at 6.57.32 PM">
            <a:hlinkClick r:id="" action="ppaction://media"/>
            <a:extLst>
              <a:ext uri="{FF2B5EF4-FFF2-40B4-BE49-F238E27FC236}">
                <a16:creationId xmlns:a16="http://schemas.microsoft.com/office/drawing/2014/main" id="{008C5D1F-8C04-4FD5-9030-673B7234911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14854" y="830513"/>
            <a:ext cx="85344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56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74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149720"/>
            <a:ext cx="113628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istory and Accoun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lang="en-US" sz="16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9800B7-050C-4EB0-9C97-31B483CCC5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502" y="999188"/>
            <a:ext cx="2704067" cy="58588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C4AF46-C693-4291-A641-CAEEE5E52E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545" y="999189"/>
            <a:ext cx="2634966" cy="5709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67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WhatsApp Video 2020-10-17 at 2.37.19 PM (1)">
            <a:hlinkClick r:id="" action="ppaction://media"/>
            <a:extLst>
              <a:ext uri="{FF2B5EF4-FFF2-40B4-BE49-F238E27FC236}">
                <a16:creationId xmlns:a16="http://schemas.microsoft.com/office/drawing/2014/main" id="{6C1978B5-26F0-479F-86D9-3BEDF80C209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 rot="5400000">
            <a:off x="6442802" y="2948895"/>
            <a:ext cx="4064000" cy="2235200"/>
          </a:xfrm>
          <a:prstGeom prst="rect">
            <a:avLst/>
          </a:prstGeom>
        </p:spPr>
      </p:pic>
      <p:pic>
        <p:nvPicPr>
          <p:cNvPr id="5" name="WhatsApp Video 2020-10-17 at 2.14.32 PM">
            <a:hlinkClick r:id="" action="ppaction://media"/>
            <a:extLst>
              <a:ext uri="{FF2B5EF4-FFF2-40B4-BE49-F238E27FC236}">
                <a16:creationId xmlns:a16="http://schemas.microsoft.com/office/drawing/2014/main" id="{370D21E4-21B0-4EFB-8AC6-2A8B912DB7D2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 rot="5400000">
            <a:off x="1598113" y="2948896"/>
            <a:ext cx="4064000" cy="22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276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35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5854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6DF8600-1827-447B-A293-2A71BE2FFDE4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3F4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C4A608A-CE78-40E4-9F79-12F604F6C40C}"/>
              </a:ext>
            </a:extLst>
          </p:cNvPr>
          <p:cNvSpPr/>
          <p:nvPr/>
        </p:nvSpPr>
        <p:spPr>
          <a:xfrm rot="10800000" flipV="1">
            <a:off x="7023100" y="653143"/>
            <a:ext cx="1848758" cy="1848726"/>
          </a:xfrm>
          <a:prstGeom prst="ellips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  <a:gs pos="30000">
                <a:schemeClr val="accent1">
                  <a:lumMod val="60000"/>
                  <a:lumOff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381000" dist="25400" dir="4680000" sx="109000" sy="109000" algn="t" rotWithShape="0">
              <a:srgbClr val="FB9F9F">
                <a:alpha val="19000"/>
              </a:srgb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A844D07-0859-4B78-86F4-04D871A2CDE9}"/>
              </a:ext>
            </a:extLst>
          </p:cNvPr>
          <p:cNvSpPr/>
          <p:nvPr/>
        </p:nvSpPr>
        <p:spPr>
          <a:xfrm>
            <a:off x="3320142" y="653143"/>
            <a:ext cx="5551716" cy="5551716"/>
          </a:xfrm>
          <a:prstGeom prst="ellipse">
            <a:avLst/>
          </a:prstGeom>
          <a:solidFill>
            <a:srgbClr val="364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07A0796-E008-46E8-84F0-EB3063C1CC49}"/>
              </a:ext>
            </a:extLst>
          </p:cNvPr>
          <p:cNvSpPr/>
          <p:nvPr/>
        </p:nvSpPr>
        <p:spPr>
          <a:xfrm rot="10800000" flipV="1">
            <a:off x="3309971" y="4609160"/>
            <a:ext cx="1599046" cy="1599019"/>
          </a:xfrm>
          <a:prstGeom prst="ellipse">
            <a:avLst/>
          </a:prstGeom>
          <a:gradFill>
            <a:gsLst>
              <a:gs pos="37000">
                <a:srgbClr val="CC5C87"/>
              </a:gs>
              <a:gs pos="100000">
                <a:schemeClr val="accent4"/>
              </a:gs>
              <a:gs pos="76000">
                <a:srgbClr val="FF5D37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381000" dist="25400" dir="4680000" sx="109000" sy="109000" algn="t" rotWithShape="0">
              <a:srgbClr val="FB9F9F">
                <a:alpha val="19000"/>
              </a:srgb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351E67-DEF8-48CD-A270-CBF1F482CF3C}"/>
              </a:ext>
            </a:extLst>
          </p:cNvPr>
          <p:cNvSpPr txBox="1"/>
          <p:nvPr/>
        </p:nvSpPr>
        <p:spPr>
          <a:xfrm>
            <a:off x="4484914" y="2296704"/>
            <a:ext cx="3222172" cy="22645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800" dirty="0">
                <a:solidFill>
                  <a:schemeClr val="bg1"/>
                </a:solidFill>
                <a:latin typeface="Modern No. 20" panose="02070704070505020303" pitchFamily="18" charset="0"/>
              </a:rPr>
              <a:t>Thank You!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4966B1E-0441-41D9-BEDE-71E9F4FD8F0A}"/>
              </a:ext>
            </a:extLst>
          </p:cNvPr>
          <p:cNvSpPr/>
          <p:nvPr/>
        </p:nvSpPr>
        <p:spPr>
          <a:xfrm flipV="1">
            <a:off x="8170667" y="1785965"/>
            <a:ext cx="642421" cy="642410"/>
          </a:xfrm>
          <a:prstGeom prst="ellipse">
            <a:avLst/>
          </a:prstGeom>
          <a:gradFill>
            <a:gsLst>
              <a:gs pos="37000">
                <a:srgbClr val="CC5C87"/>
              </a:gs>
              <a:gs pos="100000">
                <a:schemeClr val="accent4"/>
              </a:gs>
              <a:gs pos="76000">
                <a:srgbClr val="FF5D37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>
            <a:outerShdw blurRad="381000" dist="25400" dir="4680000" sx="109000" sy="109000" algn="t" rotWithShape="0">
              <a:srgbClr val="FB9F9F">
                <a:alpha val="19000"/>
              </a:srgbClr>
            </a:outerShdw>
          </a:effectLst>
        </p:spPr>
        <p:txBody>
          <a:bodyPr rtlCol="0" anchor="ctr"/>
          <a:lstStyle/>
          <a:p>
            <a:pPr algn="ctr"/>
            <a:endParaRPr lang="en-GB" kern="0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267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LLO Peers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ing Up with a Cross Platform Sharing App, which enable us share large File, Video and also 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i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we can also share files Online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Rectángulo 3">
            <a:extLst>
              <a:ext uri="{FF2B5EF4-FFF2-40B4-BE49-F238E27FC236}">
                <a16:creationId xmlns:a16="http://schemas.microsoft.com/office/drawing/2014/main" id="{9A843861-CFBB-4FA6-B40A-1FA349CFC17D}"/>
              </a:ext>
            </a:extLst>
          </p:cNvPr>
          <p:cNvSpPr/>
          <p:nvPr/>
        </p:nvSpPr>
        <p:spPr>
          <a:xfrm>
            <a:off x="3121818" y="2483371"/>
            <a:ext cx="8331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re are list of some</a:t>
            </a: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atures of our App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 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E64120-3653-4CF0-AD4D-D234D110AFF4}"/>
              </a:ext>
            </a:extLst>
          </p:cNvPr>
          <p:cNvSpPr/>
          <p:nvPr/>
        </p:nvSpPr>
        <p:spPr>
          <a:xfrm>
            <a:off x="4450957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62FFBB-4C63-4636-A6B6-983C8CAB042E}"/>
              </a:ext>
            </a:extLst>
          </p:cNvPr>
          <p:cNvSpPr/>
          <p:nvPr/>
        </p:nvSpPr>
        <p:spPr>
          <a:xfrm>
            <a:off x="4450957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3">
            <a:extLst>
              <a:ext uri="{FF2B5EF4-FFF2-40B4-BE49-F238E27FC236}">
                <a16:creationId xmlns:a16="http://schemas.microsoft.com/office/drawing/2014/main" id="{7E5FF4C7-7D02-4B66-886F-64062BCE06F7}"/>
              </a:ext>
            </a:extLst>
          </p:cNvPr>
          <p:cNvSpPr/>
          <p:nvPr/>
        </p:nvSpPr>
        <p:spPr>
          <a:xfrm>
            <a:off x="5144953" y="3371871"/>
            <a:ext cx="214246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arb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Sharing</a:t>
            </a:r>
          </a:p>
        </p:txBody>
      </p:sp>
      <p:sp>
        <p:nvSpPr>
          <p:cNvPr id="44" name="Rectángulo 3">
            <a:extLst>
              <a:ext uri="{FF2B5EF4-FFF2-40B4-BE49-F238E27FC236}">
                <a16:creationId xmlns:a16="http://schemas.microsoft.com/office/drawing/2014/main" id="{A44D750B-C9EB-4F4D-A355-A79D22D68673}"/>
              </a:ext>
            </a:extLst>
          </p:cNvPr>
          <p:cNvSpPr/>
          <p:nvPr/>
        </p:nvSpPr>
        <p:spPr>
          <a:xfrm>
            <a:off x="5144953" y="4428171"/>
            <a:ext cx="214246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are .apk Fil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7FAB6B-BC75-48F2-A08A-B7E7BD8A52D3}"/>
              </a:ext>
            </a:extLst>
          </p:cNvPr>
          <p:cNvSpPr/>
          <p:nvPr/>
        </p:nvSpPr>
        <p:spPr>
          <a:xfrm>
            <a:off x="7502812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01FE9B7-86C0-48A7-91BD-530CFCFE1404}"/>
              </a:ext>
            </a:extLst>
          </p:cNvPr>
          <p:cNvSpPr/>
          <p:nvPr/>
        </p:nvSpPr>
        <p:spPr>
          <a:xfrm>
            <a:off x="7502812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3">
            <a:extLst>
              <a:ext uri="{FF2B5EF4-FFF2-40B4-BE49-F238E27FC236}">
                <a16:creationId xmlns:a16="http://schemas.microsoft.com/office/drawing/2014/main" id="{3994F9D6-0E4F-4128-8913-B56A00FD1757}"/>
              </a:ext>
            </a:extLst>
          </p:cNvPr>
          <p:cNvSpPr/>
          <p:nvPr/>
        </p:nvSpPr>
        <p:spPr>
          <a:xfrm>
            <a:off x="8196808" y="3371871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are File Though CloudStora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58A6D2-136D-4B8F-AFE3-D86F5DC90932}"/>
              </a:ext>
            </a:extLst>
          </p:cNvPr>
          <p:cNvGrpSpPr/>
          <p:nvPr/>
        </p:nvGrpSpPr>
        <p:grpSpPr>
          <a:xfrm>
            <a:off x="4600469" y="3396719"/>
            <a:ext cx="285750" cy="287338"/>
            <a:chOff x="3746500" y="13446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0" name="Freeform 497">
              <a:extLst>
                <a:ext uri="{FF2B5EF4-FFF2-40B4-BE49-F238E27FC236}">
                  <a16:creationId xmlns:a16="http://schemas.microsoft.com/office/drawing/2014/main" id="{5D9E124A-189C-47A6-BCC0-E9BF869C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8">
              <a:extLst>
                <a:ext uri="{FF2B5EF4-FFF2-40B4-BE49-F238E27FC236}">
                  <a16:creationId xmlns:a16="http://schemas.microsoft.com/office/drawing/2014/main" id="{A47E030D-420D-43CA-ADEC-44572160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9">
              <a:extLst>
                <a:ext uri="{FF2B5EF4-FFF2-40B4-BE49-F238E27FC236}">
                  <a16:creationId xmlns:a16="http://schemas.microsoft.com/office/drawing/2014/main" id="{B411F2F2-5598-477F-9137-E80DD9F9B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0">
              <a:extLst>
                <a:ext uri="{FF2B5EF4-FFF2-40B4-BE49-F238E27FC236}">
                  <a16:creationId xmlns:a16="http://schemas.microsoft.com/office/drawing/2014/main" id="{A58C81C6-1A87-438C-8117-DAFDDDA98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4073DC26-3EF0-4358-B2FB-8DEAD26C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6B72D012-A2EA-4C61-8384-CFED0411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03">
              <a:extLst>
                <a:ext uri="{FF2B5EF4-FFF2-40B4-BE49-F238E27FC236}">
                  <a16:creationId xmlns:a16="http://schemas.microsoft.com/office/drawing/2014/main" id="{647238C1-C646-4A06-88A1-851AE8239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4">
              <a:extLst>
                <a:ext uri="{FF2B5EF4-FFF2-40B4-BE49-F238E27FC236}">
                  <a16:creationId xmlns:a16="http://schemas.microsoft.com/office/drawing/2014/main" id="{B3C58DFD-A611-4BC4-B8F8-DCC1FF5DF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F213EB-2F87-46FE-92E2-AD6B352C3A42}"/>
              </a:ext>
            </a:extLst>
          </p:cNvPr>
          <p:cNvGrpSpPr/>
          <p:nvPr/>
        </p:nvGrpSpPr>
        <p:grpSpPr>
          <a:xfrm>
            <a:off x="4623488" y="4450823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9" name="Freeform 961">
              <a:extLst>
                <a:ext uri="{FF2B5EF4-FFF2-40B4-BE49-F238E27FC236}">
                  <a16:creationId xmlns:a16="http://schemas.microsoft.com/office/drawing/2014/main" id="{25AB7416-6918-4CFC-BD4C-1C0702DE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962">
              <a:extLst>
                <a:ext uri="{FF2B5EF4-FFF2-40B4-BE49-F238E27FC236}">
                  <a16:creationId xmlns:a16="http://schemas.microsoft.com/office/drawing/2014/main" id="{A53A1029-D92C-473D-A0A6-DE77495E2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963">
              <a:extLst>
                <a:ext uri="{FF2B5EF4-FFF2-40B4-BE49-F238E27FC236}">
                  <a16:creationId xmlns:a16="http://schemas.microsoft.com/office/drawing/2014/main" id="{8E5510B4-EAA5-4B2D-9E4D-87C0E69B2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964">
              <a:extLst>
                <a:ext uri="{FF2B5EF4-FFF2-40B4-BE49-F238E27FC236}">
                  <a16:creationId xmlns:a16="http://schemas.microsoft.com/office/drawing/2014/main" id="{51A990BD-3456-4FEA-B40E-A6BDCB2EC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863A1AB-4643-4272-858D-6F68D283B76B}"/>
              </a:ext>
            </a:extLst>
          </p:cNvPr>
          <p:cNvGrpSpPr/>
          <p:nvPr/>
        </p:nvGrpSpPr>
        <p:grpSpPr>
          <a:xfrm>
            <a:off x="7652324" y="3396719"/>
            <a:ext cx="285750" cy="287338"/>
            <a:chOff x="2025650" y="47863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4" name="Freeform 565">
              <a:extLst>
                <a:ext uri="{FF2B5EF4-FFF2-40B4-BE49-F238E27FC236}">
                  <a16:creationId xmlns:a16="http://schemas.microsoft.com/office/drawing/2014/main" id="{7C4A3111-F3A6-4737-B2D2-540217E69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566">
              <a:extLst>
                <a:ext uri="{FF2B5EF4-FFF2-40B4-BE49-F238E27FC236}">
                  <a16:creationId xmlns:a16="http://schemas.microsoft.com/office/drawing/2014/main" id="{CA3112E0-9E78-47B2-94AC-64F8ECF8D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47132C-BD1B-4733-B97A-F661D3373657}"/>
              </a:ext>
            </a:extLst>
          </p:cNvPr>
          <p:cNvGrpSpPr/>
          <p:nvPr/>
        </p:nvGrpSpPr>
        <p:grpSpPr>
          <a:xfrm>
            <a:off x="7651530" y="4454792"/>
            <a:ext cx="287338" cy="277813"/>
            <a:chOff x="4903788" y="788988"/>
            <a:chExt cx="287338" cy="277813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7" name="Freeform 1458">
              <a:extLst>
                <a:ext uri="{FF2B5EF4-FFF2-40B4-BE49-F238E27FC236}">
                  <a16:creationId xmlns:a16="http://schemas.microsoft.com/office/drawing/2014/main" id="{5C252B01-A6B9-4A6D-B0B7-CAF326914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8" y="788988"/>
              <a:ext cx="287338" cy="200025"/>
            </a:xfrm>
            <a:custGeom>
              <a:avLst/>
              <a:gdLst>
                <a:gd name="T0" fmla="*/ 59 w 904"/>
                <a:gd name="T1" fmla="*/ 0 h 634"/>
                <a:gd name="T2" fmla="*/ 47 w 904"/>
                <a:gd name="T3" fmla="*/ 2 h 634"/>
                <a:gd name="T4" fmla="*/ 36 w 904"/>
                <a:gd name="T5" fmla="*/ 5 h 634"/>
                <a:gd name="T6" fmla="*/ 26 w 904"/>
                <a:gd name="T7" fmla="*/ 11 h 634"/>
                <a:gd name="T8" fmla="*/ 17 w 904"/>
                <a:gd name="T9" fmla="*/ 19 h 634"/>
                <a:gd name="T10" fmla="*/ 9 w 904"/>
                <a:gd name="T11" fmla="*/ 27 h 634"/>
                <a:gd name="T12" fmla="*/ 4 w 904"/>
                <a:gd name="T13" fmla="*/ 37 h 634"/>
                <a:gd name="T14" fmla="*/ 1 w 904"/>
                <a:gd name="T15" fmla="*/ 48 h 634"/>
                <a:gd name="T16" fmla="*/ 0 w 904"/>
                <a:gd name="T17" fmla="*/ 61 h 634"/>
                <a:gd name="T18" fmla="*/ 0 w 904"/>
                <a:gd name="T19" fmla="*/ 579 h 634"/>
                <a:gd name="T20" fmla="*/ 2 w 904"/>
                <a:gd name="T21" fmla="*/ 592 h 634"/>
                <a:gd name="T22" fmla="*/ 6 w 904"/>
                <a:gd name="T23" fmla="*/ 603 h 634"/>
                <a:gd name="T24" fmla="*/ 13 w 904"/>
                <a:gd name="T25" fmla="*/ 613 h 634"/>
                <a:gd name="T26" fmla="*/ 22 w 904"/>
                <a:gd name="T27" fmla="*/ 620 h 634"/>
                <a:gd name="T28" fmla="*/ 30 w 904"/>
                <a:gd name="T29" fmla="*/ 627 h 634"/>
                <a:gd name="T30" fmla="*/ 42 w 904"/>
                <a:gd name="T31" fmla="*/ 631 h 634"/>
                <a:gd name="T32" fmla="*/ 54 w 904"/>
                <a:gd name="T33" fmla="*/ 634 h 634"/>
                <a:gd name="T34" fmla="*/ 391 w 904"/>
                <a:gd name="T35" fmla="*/ 634 h 634"/>
                <a:gd name="T36" fmla="*/ 59 w 904"/>
                <a:gd name="T37" fmla="*/ 574 h 634"/>
                <a:gd name="T38" fmla="*/ 845 w 904"/>
                <a:gd name="T39" fmla="*/ 61 h 634"/>
                <a:gd name="T40" fmla="*/ 723 w 904"/>
                <a:gd name="T41" fmla="*/ 574 h 634"/>
                <a:gd name="T42" fmla="*/ 845 w 904"/>
                <a:gd name="T43" fmla="*/ 634 h 634"/>
                <a:gd name="T44" fmla="*/ 857 w 904"/>
                <a:gd name="T45" fmla="*/ 633 h 634"/>
                <a:gd name="T46" fmla="*/ 868 w 904"/>
                <a:gd name="T47" fmla="*/ 629 h 634"/>
                <a:gd name="T48" fmla="*/ 878 w 904"/>
                <a:gd name="T49" fmla="*/ 624 h 634"/>
                <a:gd name="T50" fmla="*/ 887 w 904"/>
                <a:gd name="T51" fmla="*/ 616 h 634"/>
                <a:gd name="T52" fmla="*/ 894 w 904"/>
                <a:gd name="T53" fmla="*/ 607 h 634"/>
                <a:gd name="T54" fmla="*/ 900 w 904"/>
                <a:gd name="T55" fmla="*/ 597 h 634"/>
                <a:gd name="T56" fmla="*/ 903 w 904"/>
                <a:gd name="T57" fmla="*/ 586 h 634"/>
                <a:gd name="T58" fmla="*/ 904 w 904"/>
                <a:gd name="T59" fmla="*/ 574 h 634"/>
                <a:gd name="T60" fmla="*/ 904 w 904"/>
                <a:gd name="T61" fmla="*/ 55 h 634"/>
                <a:gd name="T62" fmla="*/ 902 w 904"/>
                <a:gd name="T63" fmla="*/ 43 h 634"/>
                <a:gd name="T64" fmla="*/ 898 w 904"/>
                <a:gd name="T65" fmla="*/ 32 h 634"/>
                <a:gd name="T66" fmla="*/ 891 w 904"/>
                <a:gd name="T67" fmla="*/ 22 h 634"/>
                <a:gd name="T68" fmla="*/ 882 w 904"/>
                <a:gd name="T69" fmla="*/ 14 h 634"/>
                <a:gd name="T70" fmla="*/ 873 w 904"/>
                <a:gd name="T71" fmla="*/ 7 h 634"/>
                <a:gd name="T72" fmla="*/ 862 w 904"/>
                <a:gd name="T73" fmla="*/ 3 h 634"/>
                <a:gd name="T74" fmla="*/ 850 w 904"/>
                <a:gd name="T75" fmla="*/ 1 h 634"/>
                <a:gd name="T76" fmla="*/ 845 w 904"/>
                <a:gd name="T77" fmla="*/ 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04" h="634">
                  <a:moveTo>
                    <a:pt x="845" y="0"/>
                  </a:moveTo>
                  <a:lnTo>
                    <a:pt x="59" y="0"/>
                  </a:lnTo>
                  <a:lnTo>
                    <a:pt x="54" y="1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6" y="5"/>
                  </a:lnTo>
                  <a:lnTo>
                    <a:pt x="30" y="7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9"/>
                  </a:lnTo>
                  <a:lnTo>
                    <a:pt x="13" y="22"/>
                  </a:lnTo>
                  <a:lnTo>
                    <a:pt x="9" y="27"/>
                  </a:lnTo>
                  <a:lnTo>
                    <a:pt x="6" y="32"/>
                  </a:lnTo>
                  <a:lnTo>
                    <a:pt x="4" y="37"/>
                  </a:lnTo>
                  <a:lnTo>
                    <a:pt x="2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79"/>
                  </a:lnTo>
                  <a:lnTo>
                    <a:pt x="1" y="586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6" y="603"/>
                  </a:lnTo>
                  <a:lnTo>
                    <a:pt x="9" y="607"/>
                  </a:lnTo>
                  <a:lnTo>
                    <a:pt x="13" y="613"/>
                  </a:lnTo>
                  <a:lnTo>
                    <a:pt x="17" y="616"/>
                  </a:lnTo>
                  <a:lnTo>
                    <a:pt x="22" y="620"/>
                  </a:lnTo>
                  <a:lnTo>
                    <a:pt x="26" y="624"/>
                  </a:lnTo>
                  <a:lnTo>
                    <a:pt x="30" y="627"/>
                  </a:lnTo>
                  <a:lnTo>
                    <a:pt x="36" y="629"/>
                  </a:lnTo>
                  <a:lnTo>
                    <a:pt x="42" y="631"/>
                  </a:lnTo>
                  <a:lnTo>
                    <a:pt x="47" y="633"/>
                  </a:lnTo>
                  <a:lnTo>
                    <a:pt x="54" y="634"/>
                  </a:lnTo>
                  <a:lnTo>
                    <a:pt x="59" y="634"/>
                  </a:lnTo>
                  <a:lnTo>
                    <a:pt x="391" y="634"/>
                  </a:lnTo>
                  <a:lnTo>
                    <a:pt x="391" y="574"/>
                  </a:lnTo>
                  <a:lnTo>
                    <a:pt x="59" y="574"/>
                  </a:lnTo>
                  <a:lnTo>
                    <a:pt x="59" y="61"/>
                  </a:lnTo>
                  <a:lnTo>
                    <a:pt x="845" y="61"/>
                  </a:lnTo>
                  <a:lnTo>
                    <a:pt x="845" y="574"/>
                  </a:lnTo>
                  <a:lnTo>
                    <a:pt x="723" y="574"/>
                  </a:lnTo>
                  <a:lnTo>
                    <a:pt x="723" y="634"/>
                  </a:lnTo>
                  <a:lnTo>
                    <a:pt x="845" y="634"/>
                  </a:lnTo>
                  <a:lnTo>
                    <a:pt x="850" y="634"/>
                  </a:lnTo>
                  <a:lnTo>
                    <a:pt x="857" y="633"/>
                  </a:lnTo>
                  <a:lnTo>
                    <a:pt x="862" y="631"/>
                  </a:lnTo>
                  <a:lnTo>
                    <a:pt x="868" y="629"/>
                  </a:lnTo>
                  <a:lnTo>
                    <a:pt x="873" y="627"/>
                  </a:lnTo>
                  <a:lnTo>
                    <a:pt x="878" y="624"/>
                  </a:lnTo>
                  <a:lnTo>
                    <a:pt x="882" y="620"/>
                  </a:lnTo>
                  <a:lnTo>
                    <a:pt x="887" y="616"/>
                  </a:lnTo>
                  <a:lnTo>
                    <a:pt x="891" y="613"/>
                  </a:lnTo>
                  <a:lnTo>
                    <a:pt x="894" y="607"/>
                  </a:lnTo>
                  <a:lnTo>
                    <a:pt x="898" y="603"/>
                  </a:lnTo>
                  <a:lnTo>
                    <a:pt x="900" y="597"/>
                  </a:lnTo>
                  <a:lnTo>
                    <a:pt x="902" y="592"/>
                  </a:lnTo>
                  <a:lnTo>
                    <a:pt x="903" y="586"/>
                  </a:lnTo>
                  <a:lnTo>
                    <a:pt x="904" y="579"/>
                  </a:lnTo>
                  <a:lnTo>
                    <a:pt x="904" y="574"/>
                  </a:lnTo>
                  <a:lnTo>
                    <a:pt x="904" y="61"/>
                  </a:lnTo>
                  <a:lnTo>
                    <a:pt x="904" y="55"/>
                  </a:lnTo>
                  <a:lnTo>
                    <a:pt x="903" y="48"/>
                  </a:lnTo>
                  <a:lnTo>
                    <a:pt x="902" y="43"/>
                  </a:lnTo>
                  <a:lnTo>
                    <a:pt x="900" y="37"/>
                  </a:lnTo>
                  <a:lnTo>
                    <a:pt x="898" y="32"/>
                  </a:lnTo>
                  <a:lnTo>
                    <a:pt x="894" y="27"/>
                  </a:lnTo>
                  <a:lnTo>
                    <a:pt x="891" y="22"/>
                  </a:lnTo>
                  <a:lnTo>
                    <a:pt x="887" y="19"/>
                  </a:lnTo>
                  <a:lnTo>
                    <a:pt x="882" y="14"/>
                  </a:lnTo>
                  <a:lnTo>
                    <a:pt x="878" y="11"/>
                  </a:lnTo>
                  <a:lnTo>
                    <a:pt x="873" y="7"/>
                  </a:lnTo>
                  <a:lnTo>
                    <a:pt x="868" y="5"/>
                  </a:lnTo>
                  <a:lnTo>
                    <a:pt x="862" y="3"/>
                  </a:lnTo>
                  <a:lnTo>
                    <a:pt x="857" y="2"/>
                  </a:lnTo>
                  <a:lnTo>
                    <a:pt x="850" y="1"/>
                  </a:lnTo>
                  <a:lnTo>
                    <a:pt x="845" y="1"/>
                  </a:lnTo>
                  <a:lnTo>
                    <a:pt x="8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59">
              <a:extLst>
                <a:ext uri="{FF2B5EF4-FFF2-40B4-BE49-F238E27FC236}">
                  <a16:creationId xmlns:a16="http://schemas.microsoft.com/office/drawing/2014/main" id="{FEA63DE6-EF8C-498C-8CEE-AD6541573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931863"/>
              <a:ext cx="87313" cy="134938"/>
            </a:xfrm>
            <a:custGeom>
              <a:avLst/>
              <a:gdLst>
                <a:gd name="T0" fmla="*/ 85 w 271"/>
                <a:gd name="T1" fmla="*/ 276 h 423"/>
                <a:gd name="T2" fmla="*/ 90 w 271"/>
                <a:gd name="T3" fmla="*/ 290 h 423"/>
                <a:gd name="T4" fmla="*/ 81 w 271"/>
                <a:gd name="T5" fmla="*/ 301 h 423"/>
                <a:gd name="T6" fmla="*/ 66 w 271"/>
                <a:gd name="T7" fmla="*/ 299 h 423"/>
                <a:gd name="T8" fmla="*/ 60 w 271"/>
                <a:gd name="T9" fmla="*/ 287 h 423"/>
                <a:gd name="T10" fmla="*/ 66 w 271"/>
                <a:gd name="T11" fmla="*/ 275 h 423"/>
                <a:gd name="T12" fmla="*/ 75 w 271"/>
                <a:gd name="T13" fmla="*/ 181 h 423"/>
                <a:gd name="T14" fmla="*/ 87 w 271"/>
                <a:gd name="T15" fmla="*/ 187 h 423"/>
                <a:gd name="T16" fmla="*/ 89 w 271"/>
                <a:gd name="T17" fmla="*/ 202 h 423"/>
                <a:gd name="T18" fmla="*/ 79 w 271"/>
                <a:gd name="T19" fmla="*/ 210 h 423"/>
                <a:gd name="T20" fmla="*/ 64 w 271"/>
                <a:gd name="T21" fmla="*/ 207 h 423"/>
                <a:gd name="T22" fmla="*/ 60 w 271"/>
                <a:gd name="T23" fmla="*/ 193 h 423"/>
                <a:gd name="T24" fmla="*/ 70 w 271"/>
                <a:gd name="T25" fmla="*/ 183 h 423"/>
                <a:gd name="T26" fmla="*/ 81 w 271"/>
                <a:gd name="T27" fmla="*/ 92 h 423"/>
                <a:gd name="T28" fmla="*/ 90 w 271"/>
                <a:gd name="T29" fmla="*/ 103 h 423"/>
                <a:gd name="T30" fmla="*/ 85 w 271"/>
                <a:gd name="T31" fmla="*/ 116 h 423"/>
                <a:gd name="T32" fmla="*/ 72 w 271"/>
                <a:gd name="T33" fmla="*/ 121 h 423"/>
                <a:gd name="T34" fmla="*/ 61 w 271"/>
                <a:gd name="T35" fmla="*/ 112 h 423"/>
                <a:gd name="T36" fmla="*/ 63 w 271"/>
                <a:gd name="T37" fmla="*/ 98 h 423"/>
                <a:gd name="T38" fmla="*/ 75 w 271"/>
                <a:gd name="T39" fmla="*/ 91 h 423"/>
                <a:gd name="T40" fmla="*/ 144 w 271"/>
                <a:gd name="T41" fmla="*/ 275 h 423"/>
                <a:gd name="T42" fmla="*/ 150 w 271"/>
                <a:gd name="T43" fmla="*/ 287 h 423"/>
                <a:gd name="T44" fmla="*/ 144 w 271"/>
                <a:gd name="T45" fmla="*/ 299 h 423"/>
                <a:gd name="T46" fmla="*/ 129 w 271"/>
                <a:gd name="T47" fmla="*/ 300 h 423"/>
                <a:gd name="T48" fmla="*/ 121 w 271"/>
                <a:gd name="T49" fmla="*/ 290 h 423"/>
                <a:gd name="T50" fmla="*/ 125 w 271"/>
                <a:gd name="T51" fmla="*/ 276 h 423"/>
                <a:gd name="T52" fmla="*/ 135 w 271"/>
                <a:gd name="T53" fmla="*/ 271 h 423"/>
                <a:gd name="T54" fmla="*/ 146 w 271"/>
                <a:gd name="T55" fmla="*/ 185 h 423"/>
                <a:gd name="T56" fmla="*/ 150 w 271"/>
                <a:gd name="T57" fmla="*/ 199 h 423"/>
                <a:gd name="T58" fmla="*/ 142 w 271"/>
                <a:gd name="T59" fmla="*/ 210 h 423"/>
                <a:gd name="T60" fmla="*/ 127 w 271"/>
                <a:gd name="T61" fmla="*/ 208 h 423"/>
                <a:gd name="T62" fmla="*/ 121 w 271"/>
                <a:gd name="T63" fmla="*/ 196 h 423"/>
                <a:gd name="T64" fmla="*/ 127 w 271"/>
                <a:gd name="T65" fmla="*/ 184 h 423"/>
                <a:gd name="T66" fmla="*/ 138 w 271"/>
                <a:gd name="T67" fmla="*/ 91 h 423"/>
                <a:gd name="T68" fmla="*/ 149 w 271"/>
                <a:gd name="T69" fmla="*/ 100 h 423"/>
                <a:gd name="T70" fmla="*/ 148 w 271"/>
                <a:gd name="T71" fmla="*/ 114 h 423"/>
                <a:gd name="T72" fmla="*/ 135 w 271"/>
                <a:gd name="T73" fmla="*/ 121 h 423"/>
                <a:gd name="T74" fmla="*/ 123 w 271"/>
                <a:gd name="T75" fmla="*/ 114 h 423"/>
                <a:gd name="T76" fmla="*/ 122 w 271"/>
                <a:gd name="T77" fmla="*/ 100 h 423"/>
                <a:gd name="T78" fmla="*/ 133 w 271"/>
                <a:gd name="T79" fmla="*/ 91 h 423"/>
                <a:gd name="T80" fmla="*/ 201 w 271"/>
                <a:gd name="T81" fmla="*/ 272 h 423"/>
                <a:gd name="T82" fmla="*/ 210 w 271"/>
                <a:gd name="T83" fmla="*/ 283 h 423"/>
                <a:gd name="T84" fmla="*/ 207 w 271"/>
                <a:gd name="T85" fmla="*/ 298 h 423"/>
                <a:gd name="T86" fmla="*/ 192 w 271"/>
                <a:gd name="T87" fmla="*/ 301 h 423"/>
                <a:gd name="T88" fmla="*/ 181 w 271"/>
                <a:gd name="T89" fmla="*/ 292 h 423"/>
                <a:gd name="T90" fmla="*/ 184 w 271"/>
                <a:gd name="T91" fmla="*/ 278 h 423"/>
                <a:gd name="T92" fmla="*/ 196 w 271"/>
                <a:gd name="T93" fmla="*/ 271 h 423"/>
                <a:gd name="T94" fmla="*/ 205 w 271"/>
                <a:gd name="T95" fmla="*/ 184 h 423"/>
                <a:gd name="T96" fmla="*/ 211 w 271"/>
                <a:gd name="T97" fmla="*/ 196 h 423"/>
                <a:gd name="T98" fmla="*/ 205 w 271"/>
                <a:gd name="T99" fmla="*/ 208 h 423"/>
                <a:gd name="T100" fmla="*/ 190 w 271"/>
                <a:gd name="T101" fmla="*/ 210 h 423"/>
                <a:gd name="T102" fmla="*/ 181 w 271"/>
                <a:gd name="T103" fmla="*/ 199 h 423"/>
                <a:gd name="T104" fmla="*/ 185 w 271"/>
                <a:gd name="T105" fmla="*/ 185 h 423"/>
                <a:gd name="T106" fmla="*/ 196 w 271"/>
                <a:gd name="T107" fmla="*/ 91 h 423"/>
                <a:gd name="T108" fmla="*/ 208 w 271"/>
                <a:gd name="T109" fmla="*/ 98 h 423"/>
                <a:gd name="T110" fmla="*/ 210 w 271"/>
                <a:gd name="T111" fmla="*/ 112 h 423"/>
                <a:gd name="T112" fmla="*/ 199 w 271"/>
                <a:gd name="T113" fmla="*/ 121 h 423"/>
                <a:gd name="T114" fmla="*/ 185 w 271"/>
                <a:gd name="T115" fmla="*/ 116 h 423"/>
                <a:gd name="T116" fmla="*/ 181 w 271"/>
                <a:gd name="T117" fmla="*/ 102 h 423"/>
                <a:gd name="T118" fmla="*/ 190 w 271"/>
                <a:gd name="T119" fmla="*/ 92 h 423"/>
                <a:gd name="T120" fmla="*/ 271 w 271"/>
                <a:gd name="T121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423">
                  <a:moveTo>
                    <a:pt x="75" y="271"/>
                  </a:moveTo>
                  <a:lnTo>
                    <a:pt x="79" y="271"/>
                  </a:lnTo>
                  <a:lnTo>
                    <a:pt x="81" y="272"/>
                  </a:lnTo>
                  <a:lnTo>
                    <a:pt x="83" y="275"/>
                  </a:lnTo>
                  <a:lnTo>
                    <a:pt x="85" y="276"/>
                  </a:lnTo>
                  <a:lnTo>
                    <a:pt x="87" y="278"/>
                  </a:lnTo>
                  <a:lnTo>
                    <a:pt x="89" y="281"/>
                  </a:lnTo>
                  <a:lnTo>
                    <a:pt x="90" y="283"/>
                  </a:lnTo>
                  <a:lnTo>
                    <a:pt x="91" y="287"/>
                  </a:lnTo>
                  <a:lnTo>
                    <a:pt x="90" y="290"/>
                  </a:lnTo>
                  <a:lnTo>
                    <a:pt x="89" y="292"/>
                  </a:lnTo>
                  <a:lnTo>
                    <a:pt x="87" y="296"/>
                  </a:lnTo>
                  <a:lnTo>
                    <a:pt x="85" y="298"/>
                  </a:lnTo>
                  <a:lnTo>
                    <a:pt x="83" y="299"/>
                  </a:lnTo>
                  <a:lnTo>
                    <a:pt x="81" y="301"/>
                  </a:lnTo>
                  <a:lnTo>
                    <a:pt x="79" y="301"/>
                  </a:lnTo>
                  <a:lnTo>
                    <a:pt x="75" y="302"/>
                  </a:lnTo>
                  <a:lnTo>
                    <a:pt x="72" y="301"/>
                  </a:lnTo>
                  <a:lnTo>
                    <a:pt x="70" y="300"/>
                  </a:lnTo>
                  <a:lnTo>
                    <a:pt x="66" y="299"/>
                  </a:lnTo>
                  <a:lnTo>
                    <a:pt x="64" y="298"/>
                  </a:lnTo>
                  <a:lnTo>
                    <a:pt x="63" y="296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60" y="287"/>
                  </a:lnTo>
                  <a:lnTo>
                    <a:pt x="60" y="283"/>
                  </a:lnTo>
                  <a:lnTo>
                    <a:pt x="61" y="281"/>
                  </a:lnTo>
                  <a:lnTo>
                    <a:pt x="63" y="278"/>
                  </a:lnTo>
                  <a:lnTo>
                    <a:pt x="64" y="276"/>
                  </a:lnTo>
                  <a:lnTo>
                    <a:pt x="66" y="275"/>
                  </a:lnTo>
                  <a:lnTo>
                    <a:pt x="70" y="272"/>
                  </a:lnTo>
                  <a:lnTo>
                    <a:pt x="72" y="272"/>
                  </a:lnTo>
                  <a:lnTo>
                    <a:pt x="75" y="271"/>
                  </a:lnTo>
                  <a:lnTo>
                    <a:pt x="75" y="271"/>
                  </a:lnTo>
                  <a:close/>
                  <a:moveTo>
                    <a:pt x="75" y="181"/>
                  </a:moveTo>
                  <a:lnTo>
                    <a:pt x="79" y="182"/>
                  </a:lnTo>
                  <a:lnTo>
                    <a:pt x="81" y="183"/>
                  </a:lnTo>
                  <a:lnTo>
                    <a:pt x="83" y="184"/>
                  </a:lnTo>
                  <a:lnTo>
                    <a:pt x="85" y="185"/>
                  </a:lnTo>
                  <a:lnTo>
                    <a:pt x="87" y="187"/>
                  </a:lnTo>
                  <a:lnTo>
                    <a:pt x="89" y="191"/>
                  </a:lnTo>
                  <a:lnTo>
                    <a:pt x="90" y="193"/>
                  </a:lnTo>
                  <a:lnTo>
                    <a:pt x="91" y="196"/>
                  </a:lnTo>
                  <a:lnTo>
                    <a:pt x="90" y="199"/>
                  </a:lnTo>
                  <a:lnTo>
                    <a:pt x="89" y="202"/>
                  </a:lnTo>
                  <a:lnTo>
                    <a:pt x="87" y="205"/>
                  </a:lnTo>
                  <a:lnTo>
                    <a:pt x="85" y="207"/>
                  </a:lnTo>
                  <a:lnTo>
                    <a:pt x="83" y="208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12"/>
                  </a:lnTo>
                  <a:lnTo>
                    <a:pt x="72" y="210"/>
                  </a:lnTo>
                  <a:lnTo>
                    <a:pt x="70" y="210"/>
                  </a:lnTo>
                  <a:lnTo>
                    <a:pt x="66" y="208"/>
                  </a:lnTo>
                  <a:lnTo>
                    <a:pt x="64" y="207"/>
                  </a:lnTo>
                  <a:lnTo>
                    <a:pt x="63" y="205"/>
                  </a:lnTo>
                  <a:lnTo>
                    <a:pt x="61" y="202"/>
                  </a:lnTo>
                  <a:lnTo>
                    <a:pt x="60" y="199"/>
                  </a:lnTo>
                  <a:lnTo>
                    <a:pt x="60" y="196"/>
                  </a:lnTo>
                  <a:lnTo>
                    <a:pt x="60" y="193"/>
                  </a:lnTo>
                  <a:lnTo>
                    <a:pt x="61" y="191"/>
                  </a:lnTo>
                  <a:lnTo>
                    <a:pt x="63" y="187"/>
                  </a:lnTo>
                  <a:lnTo>
                    <a:pt x="64" y="185"/>
                  </a:lnTo>
                  <a:lnTo>
                    <a:pt x="66" y="184"/>
                  </a:lnTo>
                  <a:lnTo>
                    <a:pt x="70" y="183"/>
                  </a:lnTo>
                  <a:lnTo>
                    <a:pt x="72" y="182"/>
                  </a:lnTo>
                  <a:lnTo>
                    <a:pt x="75" y="181"/>
                  </a:lnTo>
                  <a:close/>
                  <a:moveTo>
                    <a:pt x="75" y="91"/>
                  </a:moveTo>
                  <a:lnTo>
                    <a:pt x="79" y="91"/>
                  </a:lnTo>
                  <a:lnTo>
                    <a:pt x="81" y="92"/>
                  </a:lnTo>
                  <a:lnTo>
                    <a:pt x="83" y="93"/>
                  </a:lnTo>
                  <a:lnTo>
                    <a:pt x="85" y="95"/>
                  </a:lnTo>
                  <a:lnTo>
                    <a:pt x="87" y="98"/>
                  </a:lnTo>
                  <a:lnTo>
                    <a:pt x="89" y="100"/>
                  </a:lnTo>
                  <a:lnTo>
                    <a:pt x="90" y="103"/>
                  </a:lnTo>
                  <a:lnTo>
                    <a:pt x="91" y="105"/>
                  </a:lnTo>
                  <a:lnTo>
                    <a:pt x="90" y="109"/>
                  </a:lnTo>
                  <a:lnTo>
                    <a:pt x="89" y="112"/>
                  </a:lnTo>
                  <a:lnTo>
                    <a:pt x="87" y="114"/>
                  </a:lnTo>
                  <a:lnTo>
                    <a:pt x="85" y="116"/>
                  </a:lnTo>
                  <a:lnTo>
                    <a:pt x="83" y="119"/>
                  </a:lnTo>
                  <a:lnTo>
                    <a:pt x="81" y="120"/>
                  </a:lnTo>
                  <a:lnTo>
                    <a:pt x="79" y="121"/>
                  </a:lnTo>
                  <a:lnTo>
                    <a:pt x="75" y="121"/>
                  </a:lnTo>
                  <a:lnTo>
                    <a:pt x="72" y="121"/>
                  </a:lnTo>
                  <a:lnTo>
                    <a:pt x="70" y="120"/>
                  </a:lnTo>
                  <a:lnTo>
                    <a:pt x="66" y="119"/>
                  </a:lnTo>
                  <a:lnTo>
                    <a:pt x="64" y="116"/>
                  </a:lnTo>
                  <a:lnTo>
                    <a:pt x="63" y="114"/>
                  </a:lnTo>
                  <a:lnTo>
                    <a:pt x="61" y="112"/>
                  </a:lnTo>
                  <a:lnTo>
                    <a:pt x="60" y="109"/>
                  </a:lnTo>
                  <a:lnTo>
                    <a:pt x="60" y="105"/>
                  </a:lnTo>
                  <a:lnTo>
                    <a:pt x="60" y="102"/>
                  </a:lnTo>
                  <a:lnTo>
                    <a:pt x="61" y="100"/>
                  </a:lnTo>
                  <a:lnTo>
                    <a:pt x="63" y="98"/>
                  </a:lnTo>
                  <a:lnTo>
                    <a:pt x="64" y="95"/>
                  </a:lnTo>
                  <a:lnTo>
                    <a:pt x="66" y="93"/>
                  </a:lnTo>
                  <a:lnTo>
                    <a:pt x="70" y="92"/>
                  </a:lnTo>
                  <a:lnTo>
                    <a:pt x="72" y="91"/>
                  </a:lnTo>
                  <a:lnTo>
                    <a:pt x="75" y="91"/>
                  </a:lnTo>
                  <a:lnTo>
                    <a:pt x="75" y="91"/>
                  </a:lnTo>
                  <a:close/>
                  <a:moveTo>
                    <a:pt x="135" y="271"/>
                  </a:moveTo>
                  <a:lnTo>
                    <a:pt x="138" y="271"/>
                  </a:lnTo>
                  <a:lnTo>
                    <a:pt x="142" y="272"/>
                  </a:lnTo>
                  <a:lnTo>
                    <a:pt x="144" y="275"/>
                  </a:lnTo>
                  <a:lnTo>
                    <a:pt x="146" y="276"/>
                  </a:lnTo>
                  <a:lnTo>
                    <a:pt x="148" y="278"/>
                  </a:lnTo>
                  <a:lnTo>
                    <a:pt x="149" y="281"/>
                  </a:lnTo>
                  <a:lnTo>
                    <a:pt x="150" y="283"/>
                  </a:lnTo>
                  <a:lnTo>
                    <a:pt x="150" y="287"/>
                  </a:lnTo>
                  <a:lnTo>
                    <a:pt x="150" y="290"/>
                  </a:lnTo>
                  <a:lnTo>
                    <a:pt x="149" y="292"/>
                  </a:lnTo>
                  <a:lnTo>
                    <a:pt x="148" y="296"/>
                  </a:lnTo>
                  <a:lnTo>
                    <a:pt x="146" y="298"/>
                  </a:lnTo>
                  <a:lnTo>
                    <a:pt x="144" y="299"/>
                  </a:lnTo>
                  <a:lnTo>
                    <a:pt x="142" y="301"/>
                  </a:lnTo>
                  <a:lnTo>
                    <a:pt x="138" y="301"/>
                  </a:lnTo>
                  <a:lnTo>
                    <a:pt x="135" y="302"/>
                  </a:lnTo>
                  <a:lnTo>
                    <a:pt x="133" y="301"/>
                  </a:lnTo>
                  <a:lnTo>
                    <a:pt x="129" y="300"/>
                  </a:lnTo>
                  <a:lnTo>
                    <a:pt x="127" y="299"/>
                  </a:lnTo>
                  <a:lnTo>
                    <a:pt x="125" y="298"/>
                  </a:lnTo>
                  <a:lnTo>
                    <a:pt x="123" y="296"/>
                  </a:lnTo>
                  <a:lnTo>
                    <a:pt x="122" y="292"/>
                  </a:lnTo>
                  <a:lnTo>
                    <a:pt x="121" y="290"/>
                  </a:lnTo>
                  <a:lnTo>
                    <a:pt x="121" y="287"/>
                  </a:lnTo>
                  <a:lnTo>
                    <a:pt x="121" y="283"/>
                  </a:lnTo>
                  <a:lnTo>
                    <a:pt x="122" y="281"/>
                  </a:lnTo>
                  <a:lnTo>
                    <a:pt x="123" y="278"/>
                  </a:lnTo>
                  <a:lnTo>
                    <a:pt x="125" y="276"/>
                  </a:lnTo>
                  <a:lnTo>
                    <a:pt x="127" y="275"/>
                  </a:lnTo>
                  <a:lnTo>
                    <a:pt x="129" y="272"/>
                  </a:lnTo>
                  <a:lnTo>
                    <a:pt x="133" y="272"/>
                  </a:lnTo>
                  <a:lnTo>
                    <a:pt x="135" y="271"/>
                  </a:lnTo>
                  <a:lnTo>
                    <a:pt x="135" y="271"/>
                  </a:lnTo>
                  <a:close/>
                  <a:moveTo>
                    <a:pt x="135" y="181"/>
                  </a:moveTo>
                  <a:lnTo>
                    <a:pt x="138" y="182"/>
                  </a:lnTo>
                  <a:lnTo>
                    <a:pt x="142" y="183"/>
                  </a:lnTo>
                  <a:lnTo>
                    <a:pt x="144" y="184"/>
                  </a:lnTo>
                  <a:lnTo>
                    <a:pt x="146" y="185"/>
                  </a:lnTo>
                  <a:lnTo>
                    <a:pt x="148" y="187"/>
                  </a:lnTo>
                  <a:lnTo>
                    <a:pt x="149" y="191"/>
                  </a:lnTo>
                  <a:lnTo>
                    <a:pt x="150" y="193"/>
                  </a:lnTo>
                  <a:lnTo>
                    <a:pt x="150" y="196"/>
                  </a:lnTo>
                  <a:lnTo>
                    <a:pt x="150" y="199"/>
                  </a:lnTo>
                  <a:lnTo>
                    <a:pt x="149" y="202"/>
                  </a:lnTo>
                  <a:lnTo>
                    <a:pt x="148" y="205"/>
                  </a:lnTo>
                  <a:lnTo>
                    <a:pt x="146" y="207"/>
                  </a:lnTo>
                  <a:lnTo>
                    <a:pt x="144" y="208"/>
                  </a:lnTo>
                  <a:lnTo>
                    <a:pt x="142" y="210"/>
                  </a:lnTo>
                  <a:lnTo>
                    <a:pt x="138" y="210"/>
                  </a:lnTo>
                  <a:lnTo>
                    <a:pt x="135" y="212"/>
                  </a:lnTo>
                  <a:lnTo>
                    <a:pt x="133" y="210"/>
                  </a:lnTo>
                  <a:lnTo>
                    <a:pt x="129" y="210"/>
                  </a:lnTo>
                  <a:lnTo>
                    <a:pt x="127" y="208"/>
                  </a:lnTo>
                  <a:lnTo>
                    <a:pt x="125" y="207"/>
                  </a:lnTo>
                  <a:lnTo>
                    <a:pt x="123" y="205"/>
                  </a:lnTo>
                  <a:lnTo>
                    <a:pt x="122" y="202"/>
                  </a:lnTo>
                  <a:lnTo>
                    <a:pt x="121" y="199"/>
                  </a:lnTo>
                  <a:lnTo>
                    <a:pt x="121" y="196"/>
                  </a:lnTo>
                  <a:lnTo>
                    <a:pt x="121" y="193"/>
                  </a:lnTo>
                  <a:lnTo>
                    <a:pt x="122" y="191"/>
                  </a:lnTo>
                  <a:lnTo>
                    <a:pt x="123" y="187"/>
                  </a:lnTo>
                  <a:lnTo>
                    <a:pt x="125" y="185"/>
                  </a:lnTo>
                  <a:lnTo>
                    <a:pt x="127" y="184"/>
                  </a:lnTo>
                  <a:lnTo>
                    <a:pt x="129" y="183"/>
                  </a:lnTo>
                  <a:lnTo>
                    <a:pt x="133" y="182"/>
                  </a:lnTo>
                  <a:lnTo>
                    <a:pt x="135" y="181"/>
                  </a:lnTo>
                  <a:close/>
                  <a:moveTo>
                    <a:pt x="135" y="91"/>
                  </a:moveTo>
                  <a:lnTo>
                    <a:pt x="138" y="91"/>
                  </a:lnTo>
                  <a:lnTo>
                    <a:pt x="142" y="92"/>
                  </a:lnTo>
                  <a:lnTo>
                    <a:pt x="144" y="93"/>
                  </a:lnTo>
                  <a:lnTo>
                    <a:pt x="146" y="95"/>
                  </a:lnTo>
                  <a:lnTo>
                    <a:pt x="148" y="98"/>
                  </a:lnTo>
                  <a:lnTo>
                    <a:pt x="149" y="100"/>
                  </a:lnTo>
                  <a:lnTo>
                    <a:pt x="150" y="103"/>
                  </a:lnTo>
                  <a:lnTo>
                    <a:pt x="150" y="105"/>
                  </a:lnTo>
                  <a:lnTo>
                    <a:pt x="150" y="109"/>
                  </a:lnTo>
                  <a:lnTo>
                    <a:pt x="149" y="112"/>
                  </a:lnTo>
                  <a:lnTo>
                    <a:pt x="148" y="114"/>
                  </a:lnTo>
                  <a:lnTo>
                    <a:pt x="146" y="116"/>
                  </a:lnTo>
                  <a:lnTo>
                    <a:pt x="144" y="119"/>
                  </a:lnTo>
                  <a:lnTo>
                    <a:pt x="142" y="120"/>
                  </a:lnTo>
                  <a:lnTo>
                    <a:pt x="138" y="121"/>
                  </a:lnTo>
                  <a:lnTo>
                    <a:pt x="135" y="121"/>
                  </a:lnTo>
                  <a:lnTo>
                    <a:pt x="133" y="121"/>
                  </a:lnTo>
                  <a:lnTo>
                    <a:pt x="129" y="120"/>
                  </a:lnTo>
                  <a:lnTo>
                    <a:pt x="127" y="119"/>
                  </a:lnTo>
                  <a:lnTo>
                    <a:pt x="125" y="116"/>
                  </a:lnTo>
                  <a:lnTo>
                    <a:pt x="123" y="114"/>
                  </a:lnTo>
                  <a:lnTo>
                    <a:pt x="122" y="112"/>
                  </a:lnTo>
                  <a:lnTo>
                    <a:pt x="121" y="109"/>
                  </a:lnTo>
                  <a:lnTo>
                    <a:pt x="121" y="105"/>
                  </a:lnTo>
                  <a:lnTo>
                    <a:pt x="121" y="102"/>
                  </a:lnTo>
                  <a:lnTo>
                    <a:pt x="122" y="100"/>
                  </a:lnTo>
                  <a:lnTo>
                    <a:pt x="123" y="98"/>
                  </a:lnTo>
                  <a:lnTo>
                    <a:pt x="125" y="95"/>
                  </a:lnTo>
                  <a:lnTo>
                    <a:pt x="127" y="93"/>
                  </a:lnTo>
                  <a:lnTo>
                    <a:pt x="129" y="92"/>
                  </a:lnTo>
                  <a:lnTo>
                    <a:pt x="133" y="91"/>
                  </a:lnTo>
                  <a:lnTo>
                    <a:pt x="135" y="91"/>
                  </a:lnTo>
                  <a:lnTo>
                    <a:pt x="135" y="91"/>
                  </a:lnTo>
                  <a:close/>
                  <a:moveTo>
                    <a:pt x="196" y="271"/>
                  </a:moveTo>
                  <a:lnTo>
                    <a:pt x="199" y="271"/>
                  </a:lnTo>
                  <a:lnTo>
                    <a:pt x="201" y="272"/>
                  </a:lnTo>
                  <a:lnTo>
                    <a:pt x="205" y="275"/>
                  </a:lnTo>
                  <a:lnTo>
                    <a:pt x="207" y="276"/>
                  </a:lnTo>
                  <a:lnTo>
                    <a:pt x="208" y="278"/>
                  </a:lnTo>
                  <a:lnTo>
                    <a:pt x="210" y="281"/>
                  </a:lnTo>
                  <a:lnTo>
                    <a:pt x="210" y="283"/>
                  </a:lnTo>
                  <a:lnTo>
                    <a:pt x="211" y="287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08" y="296"/>
                  </a:lnTo>
                  <a:lnTo>
                    <a:pt x="207" y="298"/>
                  </a:lnTo>
                  <a:lnTo>
                    <a:pt x="205" y="299"/>
                  </a:lnTo>
                  <a:lnTo>
                    <a:pt x="201" y="301"/>
                  </a:lnTo>
                  <a:lnTo>
                    <a:pt x="199" y="301"/>
                  </a:lnTo>
                  <a:lnTo>
                    <a:pt x="196" y="302"/>
                  </a:lnTo>
                  <a:lnTo>
                    <a:pt x="192" y="301"/>
                  </a:lnTo>
                  <a:lnTo>
                    <a:pt x="190" y="300"/>
                  </a:lnTo>
                  <a:lnTo>
                    <a:pt x="187" y="299"/>
                  </a:lnTo>
                  <a:lnTo>
                    <a:pt x="185" y="298"/>
                  </a:lnTo>
                  <a:lnTo>
                    <a:pt x="184" y="296"/>
                  </a:lnTo>
                  <a:lnTo>
                    <a:pt x="181" y="292"/>
                  </a:lnTo>
                  <a:lnTo>
                    <a:pt x="181" y="290"/>
                  </a:lnTo>
                  <a:lnTo>
                    <a:pt x="180" y="287"/>
                  </a:lnTo>
                  <a:lnTo>
                    <a:pt x="181" y="283"/>
                  </a:lnTo>
                  <a:lnTo>
                    <a:pt x="181" y="281"/>
                  </a:lnTo>
                  <a:lnTo>
                    <a:pt x="184" y="278"/>
                  </a:lnTo>
                  <a:lnTo>
                    <a:pt x="185" y="276"/>
                  </a:lnTo>
                  <a:lnTo>
                    <a:pt x="187" y="275"/>
                  </a:lnTo>
                  <a:lnTo>
                    <a:pt x="190" y="272"/>
                  </a:lnTo>
                  <a:lnTo>
                    <a:pt x="192" y="272"/>
                  </a:lnTo>
                  <a:lnTo>
                    <a:pt x="196" y="271"/>
                  </a:lnTo>
                  <a:lnTo>
                    <a:pt x="196" y="271"/>
                  </a:lnTo>
                  <a:close/>
                  <a:moveTo>
                    <a:pt x="196" y="181"/>
                  </a:moveTo>
                  <a:lnTo>
                    <a:pt x="199" y="182"/>
                  </a:lnTo>
                  <a:lnTo>
                    <a:pt x="201" y="183"/>
                  </a:lnTo>
                  <a:lnTo>
                    <a:pt x="205" y="184"/>
                  </a:lnTo>
                  <a:lnTo>
                    <a:pt x="207" y="185"/>
                  </a:lnTo>
                  <a:lnTo>
                    <a:pt x="208" y="187"/>
                  </a:lnTo>
                  <a:lnTo>
                    <a:pt x="210" y="191"/>
                  </a:lnTo>
                  <a:lnTo>
                    <a:pt x="210" y="193"/>
                  </a:lnTo>
                  <a:lnTo>
                    <a:pt x="211" y="196"/>
                  </a:lnTo>
                  <a:lnTo>
                    <a:pt x="210" y="199"/>
                  </a:lnTo>
                  <a:lnTo>
                    <a:pt x="210" y="202"/>
                  </a:lnTo>
                  <a:lnTo>
                    <a:pt x="208" y="205"/>
                  </a:lnTo>
                  <a:lnTo>
                    <a:pt x="207" y="207"/>
                  </a:lnTo>
                  <a:lnTo>
                    <a:pt x="205" y="208"/>
                  </a:lnTo>
                  <a:lnTo>
                    <a:pt x="201" y="210"/>
                  </a:lnTo>
                  <a:lnTo>
                    <a:pt x="199" y="210"/>
                  </a:lnTo>
                  <a:lnTo>
                    <a:pt x="196" y="212"/>
                  </a:lnTo>
                  <a:lnTo>
                    <a:pt x="192" y="210"/>
                  </a:lnTo>
                  <a:lnTo>
                    <a:pt x="190" y="210"/>
                  </a:lnTo>
                  <a:lnTo>
                    <a:pt x="187" y="208"/>
                  </a:lnTo>
                  <a:lnTo>
                    <a:pt x="185" y="207"/>
                  </a:lnTo>
                  <a:lnTo>
                    <a:pt x="184" y="205"/>
                  </a:lnTo>
                  <a:lnTo>
                    <a:pt x="181" y="202"/>
                  </a:lnTo>
                  <a:lnTo>
                    <a:pt x="181" y="199"/>
                  </a:lnTo>
                  <a:lnTo>
                    <a:pt x="180" y="196"/>
                  </a:lnTo>
                  <a:lnTo>
                    <a:pt x="181" y="193"/>
                  </a:lnTo>
                  <a:lnTo>
                    <a:pt x="181" y="191"/>
                  </a:lnTo>
                  <a:lnTo>
                    <a:pt x="184" y="187"/>
                  </a:lnTo>
                  <a:lnTo>
                    <a:pt x="185" y="185"/>
                  </a:lnTo>
                  <a:lnTo>
                    <a:pt x="187" y="184"/>
                  </a:lnTo>
                  <a:lnTo>
                    <a:pt x="190" y="183"/>
                  </a:lnTo>
                  <a:lnTo>
                    <a:pt x="192" y="182"/>
                  </a:lnTo>
                  <a:lnTo>
                    <a:pt x="196" y="181"/>
                  </a:lnTo>
                  <a:close/>
                  <a:moveTo>
                    <a:pt x="196" y="91"/>
                  </a:moveTo>
                  <a:lnTo>
                    <a:pt x="199" y="91"/>
                  </a:lnTo>
                  <a:lnTo>
                    <a:pt x="201" y="92"/>
                  </a:lnTo>
                  <a:lnTo>
                    <a:pt x="205" y="93"/>
                  </a:lnTo>
                  <a:lnTo>
                    <a:pt x="207" y="95"/>
                  </a:lnTo>
                  <a:lnTo>
                    <a:pt x="208" y="98"/>
                  </a:lnTo>
                  <a:lnTo>
                    <a:pt x="210" y="100"/>
                  </a:lnTo>
                  <a:lnTo>
                    <a:pt x="210" y="103"/>
                  </a:lnTo>
                  <a:lnTo>
                    <a:pt x="211" y="105"/>
                  </a:lnTo>
                  <a:lnTo>
                    <a:pt x="210" y="109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7" y="116"/>
                  </a:lnTo>
                  <a:lnTo>
                    <a:pt x="205" y="119"/>
                  </a:lnTo>
                  <a:lnTo>
                    <a:pt x="201" y="120"/>
                  </a:lnTo>
                  <a:lnTo>
                    <a:pt x="199" y="121"/>
                  </a:lnTo>
                  <a:lnTo>
                    <a:pt x="196" y="121"/>
                  </a:lnTo>
                  <a:lnTo>
                    <a:pt x="192" y="121"/>
                  </a:lnTo>
                  <a:lnTo>
                    <a:pt x="190" y="120"/>
                  </a:lnTo>
                  <a:lnTo>
                    <a:pt x="187" y="119"/>
                  </a:lnTo>
                  <a:lnTo>
                    <a:pt x="185" y="116"/>
                  </a:lnTo>
                  <a:lnTo>
                    <a:pt x="184" y="114"/>
                  </a:lnTo>
                  <a:lnTo>
                    <a:pt x="181" y="112"/>
                  </a:lnTo>
                  <a:lnTo>
                    <a:pt x="181" y="109"/>
                  </a:lnTo>
                  <a:lnTo>
                    <a:pt x="180" y="105"/>
                  </a:lnTo>
                  <a:lnTo>
                    <a:pt x="181" y="102"/>
                  </a:lnTo>
                  <a:lnTo>
                    <a:pt x="181" y="100"/>
                  </a:lnTo>
                  <a:lnTo>
                    <a:pt x="184" y="98"/>
                  </a:lnTo>
                  <a:lnTo>
                    <a:pt x="185" y="95"/>
                  </a:lnTo>
                  <a:lnTo>
                    <a:pt x="187" y="93"/>
                  </a:lnTo>
                  <a:lnTo>
                    <a:pt x="190" y="92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close/>
                  <a:moveTo>
                    <a:pt x="0" y="423"/>
                  </a:moveTo>
                  <a:lnTo>
                    <a:pt x="271" y="423"/>
                  </a:lnTo>
                  <a:lnTo>
                    <a:pt x="271" y="0"/>
                  </a:lnTo>
                  <a:lnTo>
                    <a:pt x="0" y="0"/>
                  </a:lnTo>
                  <a:lnTo>
                    <a:pt x="0" y="4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460">
              <a:extLst>
                <a:ext uri="{FF2B5EF4-FFF2-40B4-BE49-F238E27FC236}">
                  <a16:creationId xmlns:a16="http://schemas.microsoft.com/office/drawing/2014/main" id="{7630934C-6A42-4D87-947E-2BD5062A2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3" y="869950"/>
              <a:ext cx="68263" cy="19050"/>
            </a:xfrm>
            <a:custGeom>
              <a:avLst/>
              <a:gdLst>
                <a:gd name="T0" fmla="*/ 204 w 215"/>
                <a:gd name="T1" fmla="*/ 59 h 59"/>
                <a:gd name="T2" fmla="*/ 210 w 215"/>
                <a:gd name="T3" fmla="*/ 56 h 59"/>
                <a:gd name="T4" fmla="*/ 214 w 215"/>
                <a:gd name="T5" fmla="*/ 50 h 59"/>
                <a:gd name="T6" fmla="*/ 215 w 215"/>
                <a:gd name="T7" fmla="*/ 45 h 59"/>
                <a:gd name="T8" fmla="*/ 214 w 215"/>
                <a:gd name="T9" fmla="*/ 38 h 59"/>
                <a:gd name="T10" fmla="*/ 211 w 215"/>
                <a:gd name="T11" fmla="*/ 34 h 59"/>
                <a:gd name="T12" fmla="*/ 198 w 215"/>
                <a:gd name="T13" fmla="*/ 25 h 59"/>
                <a:gd name="T14" fmla="*/ 173 w 215"/>
                <a:gd name="T15" fmla="*/ 13 h 59"/>
                <a:gd name="T16" fmla="*/ 147 w 215"/>
                <a:gd name="T17" fmla="*/ 5 h 59"/>
                <a:gd name="T18" fmla="*/ 120 w 215"/>
                <a:gd name="T19" fmla="*/ 1 h 59"/>
                <a:gd name="T20" fmla="*/ 94 w 215"/>
                <a:gd name="T21" fmla="*/ 1 h 59"/>
                <a:gd name="T22" fmla="*/ 68 w 215"/>
                <a:gd name="T23" fmla="*/ 5 h 59"/>
                <a:gd name="T24" fmla="*/ 42 w 215"/>
                <a:gd name="T25" fmla="*/ 13 h 59"/>
                <a:gd name="T26" fmla="*/ 17 w 215"/>
                <a:gd name="T27" fmla="*/ 25 h 59"/>
                <a:gd name="T28" fmla="*/ 4 w 215"/>
                <a:gd name="T29" fmla="*/ 34 h 59"/>
                <a:gd name="T30" fmla="*/ 1 w 215"/>
                <a:gd name="T31" fmla="*/ 38 h 59"/>
                <a:gd name="T32" fmla="*/ 0 w 215"/>
                <a:gd name="T33" fmla="*/ 45 h 59"/>
                <a:gd name="T34" fmla="*/ 1 w 215"/>
                <a:gd name="T35" fmla="*/ 50 h 59"/>
                <a:gd name="T36" fmla="*/ 4 w 215"/>
                <a:gd name="T37" fmla="*/ 55 h 59"/>
                <a:gd name="T38" fmla="*/ 9 w 215"/>
                <a:gd name="T39" fmla="*/ 58 h 59"/>
                <a:gd name="T40" fmla="*/ 14 w 215"/>
                <a:gd name="T41" fmla="*/ 59 h 59"/>
                <a:gd name="T42" fmla="*/ 21 w 215"/>
                <a:gd name="T43" fmla="*/ 58 h 59"/>
                <a:gd name="T44" fmla="*/ 33 w 215"/>
                <a:gd name="T45" fmla="*/ 50 h 59"/>
                <a:gd name="T46" fmla="*/ 53 w 215"/>
                <a:gd name="T47" fmla="*/ 41 h 59"/>
                <a:gd name="T48" fmla="*/ 75 w 215"/>
                <a:gd name="T49" fmla="*/ 35 h 59"/>
                <a:gd name="T50" fmla="*/ 96 w 215"/>
                <a:gd name="T51" fmla="*/ 31 h 59"/>
                <a:gd name="T52" fmla="*/ 118 w 215"/>
                <a:gd name="T53" fmla="*/ 31 h 59"/>
                <a:gd name="T54" fmla="*/ 140 w 215"/>
                <a:gd name="T55" fmla="*/ 35 h 59"/>
                <a:gd name="T56" fmla="*/ 162 w 215"/>
                <a:gd name="T57" fmla="*/ 41 h 59"/>
                <a:gd name="T58" fmla="*/ 182 w 215"/>
                <a:gd name="T59" fmla="*/ 50 h 59"/>
                <a:gd name="T60" fmla="*/ 195 w 215"/>
                <a:gd name="T61" fmla="*/ 59 h 59"/>
                <a:gd name="T62" fmla="*/ 200 w 215"/>
                <a:gd name="T6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5" h="59">
                  <a:moveTo>
                    <a:pt x="200" y="59"/>
                  </a:moveTo>
                  <a:lnTo>
                    <a:pt x="204" y="59"/>
                  </a:lnTo>
                  <a:lnTo>
                    <a:pt x="208" y="58"/>
                  </a:lnTo>
                  <a:lnTo>
                    <a:pt x="210" y="56"/>
                  </a:lnTo>
                  <a:lnTo>
                    <a:pt x="213" y="52"/>
                  </a:lnTo>
                  <a:lnTo>
                    <a:pt x="214" y="50"/>
                  </a:lnTo>
                  <a:lnTo>
                    <a:pt x="215" y="47"/>
                  </a:lnTo>
                  <a:lnTo>
                    <a:pt x="215" y="45"/>
                  </a:lnTo>
                  <a:lnTo>
                    <a:pt x="215" y="41"/>
                  </a:lnTo>
                  <a:lnTo>
                    <a:pt x="214" y="38"/>
                  </a:lnTo>
                  <a:lnTo>
                    <a:pt x="213" y="36"/>
                  </a:lnTo>
                  <a:lnTo>
                    <a:pt x="211" y="34"/>
                  </a:lnTo>
                  <a:lnTo>
                    <a:pt x="209" y="31"/>
                  </a:lnTo>
                  <a:lnTo>
                    <a:pt x="198" y="25"/>
                  </a:lnTo>
                  <a:lnTo>
                    <a:pt x="186" y="18"/>
                  </a:lnTo>
                  <a:lnTo>
                    <a:pt x="173" y="13"/>
                  </a:lnTo>
                  <a:lnTo>
                    <a:pt x="160" y="8"/>
                  </a:lnTo>
                  <a:lnTo>
                    <a:pt x="147" y="5"/>
                  </a:lnTo>
                  <a:lnTo>
                    <a:pt x="134" y="3"/>
                  </a:lnTo>
                  <a:lnTo>
                    <a:pt x="120" y="1"/>
                  </a:lnTo>
                  <a:lnTo>
                    <a:pt x="107" y="0"/>
                  </a:lnTo>
                  <a:lnTo>
                    <a:pt x="94" y="1"/>
                  </a:lnTo>
                  <a:lnTo>
                    <a:pt x="80" y="3"/>
                  </a:lnTo>
                  <a:lnTo>
                    <a:pt x="68" y="5"/>
                  </a:lnTo>
                  <a:lnTo>
                    <a:pt x="55" y="8"/>
                  </a:lnTo>
                  <a:lnTo>
                    <a:pt x="42" y="13"/>
                  </a:lnTo>
                  <a:lnTo>
                    <a:pt x="30" y="18"/>
                  </a:lnTo>
                  <a:lnTo>
                    <a:pt x="17" y="25"/>
                  </a:lnTo>
                  <a:lnTo>
                    <a:pt x="6" y="31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1" y="50"/>
                  </a:lnTo>
                  <a:lnTo>
                    <a:pt x="2" y="52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59"/>
                  </a:lnTo>
                  <a:lnTo>
                    <a:pt x="14" y="59"/>
                  </a:lnTo>
                  <a:lnTo>
                    <a:pt x="17" y="59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33" y="50"/>
                  </a:lnTo>
                  <a:lnTo>
                    <a:pt x="43" y="46"/>
                  </a:lnTo>
                  <a:lnTo>
                    <a:pt x="53" y="41"/>
                  </a:lnTo>
                  <a:lnTo>
                    <a:pt x="64" y="37"/>
                  </a:lnTo>
                  <a:lnTo>
                    <a:pt x="75" y="35"/>
                  </a:lnTo>
                  <a:lnTo>
                    <a:pt x="85" y="32"/>
                  </a:lnTo>
                  <a:lnTo>
                    <a:pt x="96" y="31"/>
                  </a:lnTo>
                  <a:lnTo>
                    <a:pt x="107" y="31"/>
                  </a:lnTo>
                  <a:lnTo>
                    <a:pt x="118" y="31"/>
                  </a:lnTo>
                  <a:lnTo>
                    <a:pt x="129" y="32"/>
                  </a:lnTo>
                  <a:lnTo>
                    <a:pt x="140" y="35"/>
                  </a:lnTo>
                  <a:lnTo>
                    <a:pt x="151" y="37"/>
                  </a:lnTo>
                  <a:lnTo>
                    <a:pt x="162" y="41"/>
                  </a:lnTo>
                  <a:lnTo>
                    <a:pt x="172" y="46"/>
                  </a:lnTo>
                  <a:lnTo>
                    <a:pt x="182" y="50"/>
                  </a:lnTo>
                  <a:lnTo>
                    <a:pt x="192" y="57"/>
                  </a:lnTo>
                  <a:lnTo>
                    <a:pt x="195" y="59"/>
                  </a:lnTo>
                  <a:lnTo>
                    <a:pt x="200" y="59"/>
                  </a:lnTo>
                  <a:lnTo>
                    <a:pt x="20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461">
              <a:extLst>
                <a:ext uri="{FF2B5EF4-FFF2-40B4-BE49-F238E27FC236}">
                  <a16:creationId xmlns:a16="http://schemas.microsoft.com/office/drawing/2014/main" id="{627A51E2-936C-4260-9ACD-02BC3ABA2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375" y="841375"/>
              <a:ext cx="96838" cy="23813"/>
            </a:xfrm>
            <a:custGeom>
              <a:avLst/>
              <a:gdLst>
                <a:gd name="T0" fmla="*/ 6 w 307"/>
                <a:gd name="T1" fmla="*/ 46 h 73"/>
                <a:gd name="T2" fmla="*/ 4 w 307"/>
                <a:gd name="T3" fmla="*/ 47 h 73"/>
                <a:gd name="T4" fmla="*/ 3 w 307"/>
                <a:gd name="T5" fmla="*/ 51 h 73"/>
                <a:gd name="T6" fmla="*/ 0 w 307"/>
                <a:gd name="T7" fmla="*/ 53 h 73"/>
                <a:gd name="T8" fmla="*/ 0 w 307"/>
                <a:gd name="T9" fmla="*/ 55 h 73"/>
                <a:gd name="T10" fmla="*/ 0 w 307"/>
                <a:gd name="T11" fmla="*/ 58 h 73"/>
                <a:gd name="T12" fmla="*/ 0 w 307"/>
                <a:gd name="T13" fmla="*/ 62 h 73"/>
                <a:gd name="T14" fmla="*/ 1 w 307"/>
                <a:gd name="T15" fmla="*/ 64 h 73"/>
                <a:gd name="T16" fmla="*/ 3 w 307"/>
                <a:gd name="T17" fmla="*/ 67 h 73"/>
                <a:gd name="T18" fmla="*/ 5 w 307"/>
                <a:gd name="T19" fmla="*/ 69 h 73"/>
                <a:gd name="T20" fmla="*/ 8 w 307"/>
                <a:gd name="T21" fmla="*/ 72 h 73"/>
                <a:gd name="T22" fmla="*/ 11 w 307"/>
                <a:gd name="T23" fmla="*/ 73 h 73"/>
                <a:gd name="T24" fmla="*/ 15 w 307"/>
                <a:gd name="T25" fmla="*/ 73 h 73"/>
                <a:gd name="T26" fmla="*/ 19 w 307"/>
                <a:gd name="T27" fmla="*/ 73 h 73"/>
                <a:gd name="T28" fmla="*/ 24 w 307"/>
                <a:gd name="T29" fmla="*/ 71 h 73"/>
                <a:gd name="T30" fmla="*/ 38 w 307"/>
                <a:gd name="T31" fmla="*/ 61 h 73"/>
                <a:gd name="T32" fmla="*/ 53 w 307"/>
                <a:gd name="T33" fmla="*/ 53 h 73"/>
                <a:gd name="T34" fmla="*/ 70 w 307"/>
                <a:gd name="T35" fmla="*/ 45 h 73"/>
                <a:gd name="T36" fmla="*/ 86 w 307"/>
                <a:gd name="T37" fmla="*/ 40 h 73"/>
                <a:gd name="T38" fmla="*/ 102 w 307"/>
                <a:gd name="T39" fmla="*/ 35 h 73"/>
                <a:gd name="T40" fmla="*/ 120 w 307"/>
                <a:gd name="T41" fmla="*/ 32 h 73"/>
                <a:gd name="T42" fmla="*/ 136 w 307"/>
                <a:gd name="T43" fmla="*/ 30 h 73"/>
                <a:gd name="T44" fmla="*/ 153 w 307"/>
                <a:gd name="T45" fmla="*/ 30 h 73"/>
                <a:gd name="T46" fmla="*/ 171 w 307"/>
                <a:gd name="T47" fmla="*/ 30 h 73"/>
                <a:gd name="T48" fmla="*/ 187 w 307"/>
                <a:gd name="T49" fmla="*/ 32 h 73"/>
                <a:gd name="T50" fmla="*/ 204 w 307"/>
                <a:gd name="T51" fmla="*/ 35 h 73"/>
                <a:gd name="T52" fmla="*/ 220 w 307"/>
                <a:gd name="T53" fmla="*/ 40 h 73"/>
                <a:gd name="T54" fmla="*/ 237 w 307"/>
                <a:gd name="T55" fmla="*/ 45 h 73"/>
                <a:gd name="T56" fmla="*/ 253 w 307"/>
                <a:gd name="T57" fmla="*/ 53 h 73"/>
                <a:gd name="T58" fmla="*/ 268 w 307"/>
                <a:gd name="T59" fmla="*/ 61 h 73"/>
                <a:gd name="T60" fmla="*/ 284 w 307"/>
                <a:gd name="T61" fmla="*/ 71 h 73"/>
                <a:gd name="T62" fmla="*/ 286 w 307"/>
                <a:gd name="T63" fmla="*/ 72 h 73"/>
                <a:gd name="T64" fmla="*/ 289 w 307"/>
                <a:gd name="T65" fmla="*/ 73 h 73"/>
                <a:gd name="T66" fmla="*/ 291 w 307"/>
                <a:gd name="T67" fmla="*/ 73 h 73"/>
                <a:gd name="T68" fmla="*/ 295 w 307"/>
                <a:gd name="T69" fmla="*/ 73 h 73"/>
                <a:gd name="T70" fmla="*/ 298 w 307"/>
                <a:gd name="T71" fmla="*/ 72 h 73"/>
                <a:gd name="T72" fmla="*/ 300 w 307"/>
                <a:gd name="T73" fmla="*/ 71 h 73"/>
                <a:gd name="T74" fmla="*/ 302 w 307"/>
                <a:gd name="T75" fmla="*/ 69 h 73"/>
                <a:gd name="T76" fmla="*/ 305 w 307"/>
                <a:gd name="T77" fmla="*/ 67 h 73"/>
                <a:gd name="T78" fmla="*/ 306 w 307"/>
                <a:gd name="T79" fmla="*/ 64 h 73"/>
                <a:gd name="T80" fmla="*/ 307 w 307"/>
                <a:gd name="T81" fmla="*/ 62 h 73"/>
                <a:gd name="T82" fmla="*/ 307 w 307"/>
                <a:gd name="T83" fmla="*/ 58 h 73"/>
                <a:gd name="T84" fmla="*/ 307 w 307"/>
                <a:gd name="T85" fmla="*/ 55 h 73"/>
                <a:gd name="T86" fmla="*/ 306 w 307"/>
                <a:gd name="T87" fmla="*/ 53 h 73"/>
                <a:gd name="T88" fmla="*/ 305 w 307"/>
                <a:gd name="T89" fmla="*/ 51 h 73"/>
                <a:gd name="T90" fmla="*/ 303 w 307"/>
                <a:gd name="T91" fmla="*/ 47 h 73"/>
                <a:gd name="T92" fmla="*/ 301 w 307"/>
                <a:gd name="T93" fmla="*/ 46 h 73"/>
                <a:gd name="T94" fmla="*/ 284 w 307"/>
                <a:gd name="T95" fmla="*/ 35 h 73"/>
                <a:gd name="T96" fmla="*/ 267 w 307"/>
                <a:gd name="T97" fmla="*/ 25 h 73"/>
                <a:gd name="T98" fmla="*/ 248 w 307"/>
                <a:gd name="T99" fmla="*/ 17 h 73"/>
                <a:gd name="T100" fmla="*/ 230 w 307"/>
                <a:gd name="T101" fmla="*/ 11 h 73"/>
                <a:gd name="T102" fmla="*/ 212 w 307"/>
                <a:gd name="T103" fmla="*/ 5 h 73"/>
                <a:gd name="T104" fmla="*/ 192 w 307"/>
                <a:gd name="T105" fmla="*/ 2 h 73"/>
                <a:gd name="T106" fmla="*/ 173 w 307"/>
                <a:gd name="T107" fmla="*/ 0 h 73"/>
                <a:gd name="T108" fmla="*/ 153 w 307"/>
                <a:gd name="T109" fmla="*/ 0 h 73"/>
                <a:gd name="T110" fmla="*/ 134 w 307"/>
                <a:gd name="T111" fmla="*/ 0 h 73"/>
                <a:gd name="T112" fmla="*/ 115 w 307"/>
                <a:gd name="T113" fmla="*/ 2 h 73"/>
                <a:gd name="T114" fmla="*/ 95 w 307"/>
                <a:gd name="T115" fmla="*/ 5 h 73"/>
                <a:gd name="T116" fmla="*/ 77 w 307"/>
                <a:gd name="T117" fmla="*/ 11 h 73"/>
                <a:gd name="T118" fmla="*/ 59 w 307"/>
                <a:gd name="T119" fmla="*/ 17 h 73"/>
                <a:gd name="T120" fmla="*/ 40 w 307"/>
                <a:gd name="T121" fmla="*/ 25 h 73"/>
                <a:gd name="T122" fmla="*/ 24 w 307"/>
                <a:gd name="T123" fmla="*/ 35 h 73"/>
                <a:gd name="T124" fmla="*/ 6 w 307"/>
                <a:gd name="T125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7" h="73">
                  <a:moveTo>
                    <a:pt x="6" y="46"/>
                  </a:moveTo>
                  <a:lnTo>
                    <a:pt x="4" y="47"/>
                  </a:lnTo>
                  <a:lnTo>
                    <a:pt x="3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1" y="64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8" y="72"/>
                  </a:lnTo>
                  <a:lnTo>
                    <a:pt x="11" y="73"/>
                  </a:lnTo>
                  <a:lnTo>
                    <a:pt x="15" y="73"/>
                  </a:lnTo>
                  <a:lnTo>
                    <a:pt x="19" y="73"/>
                  </a:lnTo>
                  <a:lnTo>
                    <a:pt x="24" y="71"/>
                  </a:lnTo>
                  <a:lnTo>
                    <a:pt x="38" y="61"/>
                  </a:lnTo>
                  <a:lnTo>
                    <a:pt x="53" y="53"/>
                  </a:lnTo>
                  <a:lnTo>
                    <a:pt x="70" y="45"/>
                  </a:lnTo>
                  <a:lnTo>
                    <a:pt x="86" y="40"/>
                  </a:lnTo>
                  <a:lnTo>
                    <a:pt x="102" y="35"/>
                  </a:lnTo>
                  <a:lnTo>
                    <a:pt x="120" y="32"/>
                  </a:lnTo>
                  <a:lnTo>
                    <a:pt x="136" y="30"/>
                  </a:lnTo>
                  <a:lnTo>
                    <a:pt x="153" y="30"/>
                  </a:lnTo>
                  <a:lnTo>
                    <a:pt x="171" y="30"/>
                  </a:lnTo>
                  <a:lnTo>
                    <a:pt x="187" y="32"/>
                  </a:lnTo>
                  <a:lnTo>
                    <a:pt x="204" y="35"/>
                  </a:lnTo>
                  <a:lnTo>
                    <a:pt x="220" y="40"/>
                  </a:lnTo>
                  <a:lnTo>
                    <a:pt x="237" y="45"/>
                  </a:lnTo>
                  <a:lnTo>
                    <a:pt x="253" y="53"/>
                  </a:lnTo>
                  <a:lnTo>
                    <a:pt x="268" y="61"/>
                  </a:lnTo>
                  <a:lnTo>
                    <a:pt x="284" y="71"/>
                  </a:lnTo>
                  <a:lnTo>
                    <a:pt x="286" y="72"/>
                  </a:lnTo>
                  <a:lnTo>
                    <a:pt x="289" y="73"/>
                  </a:lnTo>
                  <a:lnTo>
                    <a:pt x="291" y="73"/>
                  </a:lnTo>
                  <a:lnTo>
                    <a:pt x="295" y="73"/>
                  </a:lnTo>
                  <a:lnTo>
                    <a:pt x="298" y="72"/>
                  </a:lnTo>
                  <a:lnTo>
                    <a:pt x="300" y="71"/>
                  </a:lnTo>
                  <a:lnTo>
                    <a:pt x="302" y="69"/>
                  </a:lnTo>
                  <a:lnTo>
                    <a:pt x="305" y="67"/>
                  </a:lnTo>
                  <a:lnTo>
                    <a:pt x="306" y="64"/>
                  </a:lnTo>
                  <a:lnTo>
                    <a:pt x="307" y="62"/>
                  </a:lnTo>
                  <a:lnTo>
                    <a:pt x="307" y="58"/>
                  </a:lnTo>
                  <a:lnTo>
                    <a:pt x="307" y="55"/>
                  </a:lnTo>
                  <a:lnTo>
                    <a:pt x="306" y="53"/>
                  </a:lnTo>
                  <a:lnTo>
                    <a:pt x="305" y="51"/>
                  </a:lnTo>
                  <a:lnTo>
                    <a:pt x="303" y="47"/>
                  </a:lnTo>
                  <a:lnTo>
                    <a:pt x="301" y="46"/>
                  </a:lnTo>
                  <a:lnTo>
                    <a:pt x="284" y="35"/>
                  </a:lnTo>
                  <a:lnTo>
                    <a:pt x="267" y="25"/>
                  </a:lnTo>
                  <a:lnTo>
                    <a:pt x="248" y="17"/>
                  </a:lnTo>
                  <a:lnTo>
                    <a:pt x="230" y="11"/>
                  </a:lnTo>
                  <a:lnTo>
                    <a:pt x="212" y="5"/>
                  </a:lnTo>
                  <a:lnTo>
                    <a:pt x="192" y="2"/>
                  </a:lnTo>
                  <a:lnTo>
                    <a:pt x="173" y="0"/>
                  </a:lnTo>
                  <a:lnTo>
                    <a:pt x="153" y="0"/>
                  </a:lnTo>
                  <a:lnTo>
                    <a:pt x="134" y="0"/>
                  </a:lnTo>
                  <a:lnTo>
                    <a:pt x="115" y="2"/>
                  </a:lnTo>
                  <a:lnTo>
                    <a:pt x="95" y="5"/>
                  </a:lnTo>
                  <a:lnTo>
                    <a:pt x="77" y="11"/>
                  </a:lnTo>
                  <a:lnTo>
                    <a:pt x="59" y="17"/>
                  </a:lnTo>
                  <a:lnTo>
                    <a:pt x="40" y="25"/>
                  </a:lnTo>
                  <a:lnTo>
                    <a:pt x="24" y="35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462">
              <a:extLst>
                <a:ext uri="{FF2B5EF4-FFF2-40B4-BE49-F238E27FC236}">
                  <a16:creationId xmlns:a16="http://schemas.microsoft.com/office/drawing/2014/main" id="{91A2A146-09F8-44CF-B483-40D2A0A0C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898525"/>
              <a:ext cx="39688" cy="14288"/>
            </a:xfrm>
            <a:custGeom>
              <a:avLst/>
              <a:gdLst>
                <a:gd name="T0" fmla="*/ 8 w 124"/>
                <a:gd name="T1" fmla="*/ 16 h 43"/>
                <a:gd name="T2" fmla="*/ 6 w 124"/>
                <a:gd name="T3" fmla="*/ 18 h 43"/>
                <a:gd name="T4" fmla="*/ 3 w 124"/>
                <a:gd name="T5" fmla="*/ 20 h 43"/>
                <a:gd name="T6" fmla="*/ 2 w 124"/>
                <a:gd name="T7" fmla="*/ 22 h 43"/>
                <a:gd name="T8" fmla="*/ 1 w 124"/>
                <a:gd name="T9" fmla="*/ 26 h 43"/>
                <a:gd name="T10" fmla="*/ 0 w 124"/>
                <a:gd name="T11" fmla="*/ 28 h 43"/>
                <a:gd name="T12" fmla="*/ 0 w 124"/>
                <a:gd name="T13" fmla="*/ 31 h 43"/>
                <a:gd name="T14" fmla="*/ 1 w 124"/>
                <a:gd name="T15" fmla="*/ 33 h 43"/>
                <a:gd name="T16" fmla="*/ 2 w 124"/>
                <a:gd name="T17" fmla="*/ 37 h 43"/>
                <a:gd name="T18" fmla="*/ 6 w 124"/>
                <a:gd name="T19" fmla="*/ 40 h 43"/>
                <a:gd name="T20" fmla="*/ 8 w 124"/>
                <a:gd name="T21" fmla="*/ 42 h 43"/>
                <a:gd name="T22" fmla="*/ 12 w 124"/>
                <a:gd name="T23" fmla="*/ 43 h 43"/>
                <a:gd name="T24" fmla="*/ 16 w 124"/>
                <a:gd name="T25" fmla="*/ 43 h 43"/>
                <a:gd name="T26" fmla="*/ 20 w 124"/>
                <a:gd name="T27" fmla="*/ 43 h 43"/>
                <a:gd name="T28" fmla="*/ 23 w 124"/>
                <a:gd name="T29" fmla="*/ 42 h 43"/>
                <a:gd name="T30" fmla="*/ 33 w 124"/>
                <a:gd name="T31" fmla="*/ 37 h 43"/>
                <a:gd name="T32" fmla="*/ 42 w 124"/>
                <a:gd name="T33" fmla="*/ 33 h 43"/>
                <a:gd name="T34" fmla="*/ 52 w 124"/>
                <a:gd name="T35" fmla="*/ 31 h 43"/>
                <a:gd name="T36" fmla="*/ 62 w 124"/>
                <a:gd name="T37" fmla="*/ 30 h 43"/>
                <a:gd name="T38" fmla="*/ 73 w 124"/>
                <a:gd name="T39" fmla="*/ 31 h 43"/>
                <a:gd name="T40" fmla="*/ 83 w 124"/>
                <a:gd name="T41" fmla="*/ 33 h 43"/>
                <a:gd name="T42" fmla="*/ 92 w 124"/>
                <a:gd name="T43" fmla="*/ 37 h 43"/>
                <a:gd name="T44" fmla="*/ 102 w 124"/>
                <a:gd name="T45" fmla="*/ 42 h 43"/>
                <a:gd name="T46" fmla="*/ 104 w 124"/>
                <a:gd name="T47" fmla="*/ 43 h 43"/>
                <a:gd name="T48" fmla="*/ 107 w 124"/>
                <a:gd name="T49" fmla="*/ 43 h 43"/>
                <a:gd name="T50" fmla="*/ 110 w 124"/>
                <a:gd name="T51" fmla="*/ 43 h 43"/>
                <a:gd name="T52" fmla="*/ 113 w 124"/>
                <a:gd name="T53" fmla="*/ 43 h 43"/>
                <a:gd name="T54" fmla="*/ 116 w 124"/>
                <a:gd name="T55" fmla="*/ 42 h 43"/>
                <a:gd name="T56" fmla="*/ 118 w 124"/>
                <a:gd name="T57" fmla="*/ 41 h 43"/>
                <a:gd name="T58" fmla="*/ 121 w 124"/>
                <a:gd name="T59" fmla="*/ 39 h 43"/>
                <a:gd name="T60" fmla="*/ 123 w 124"/>
                <a:gd name="T61" fmla="*/ 37 h 43"/>
                <a:gd name="T62" fmla="*/ 124 w 124"/>
                <a:gd name="T63" fmla="*/ 33 h 43"/>
                <a:gd name="T64" fmla="*/ 124 w 124"/>
                <a:gd name="T65" fmla="*/ 31 h 43"/>
                <a:gd name="T66" fmla="*/ 124 w 124"/>
                <a:gd name="T67" fmla="*/ 28 h 43"/>
                <a:gd name="T68" fmla="*/ 124 w 124"/>
                <a:gd name="T69" fmla="*/ 26 h 43"/>
                <a:gd name="T70" fmla="*/ 123 w 124"/>
                <a:gd name="T71" fmla="*/ 22 h 43"/>
                <a:gd name="T72" fmla="*/ 122 w 124"/>
                <a:gd name="T73" fmla="*/ 20 h 43"/>
                <a:gd name="T74" fmla="*/ 119 w 124"/>
                <a:gd name="T75" fmla="*/ 18 h 43"/>
                <a:gd name="T76" fmla="*/ 117 w 124"/>
                <a:gd name="T77" fmla="*/ 16 h 43"/>
                <a:gd name="T78" fmla="*/ 104 w 124"/>
                <a:gd name="T79" fmla="*/ 9 h 43"/>
                <a:gd name="T80" fmla="*/ 91 w 124"/>
                <a:gd name="T81" fmla="*/ 5 h 43"/>
                <a:gd name="T82" fmla="*/ 76 w 124"/>
                <a:gd name="T83" fmla="*/ 1 h 43"/>
                <a:gd name="T84" fmla="*/ 62 w 124"/>
                <a:gd name="T85" fmla="*/ 0 h 43"/>
                <a:gd name="T86" fmla="*/ 49 w 124"/>
                <a:gd name="T87" fmla="*/ 1 h 43"/>
                <a:gd name="T88" fmla="*/ 34 w 124"/>
                <a:gd name="T89" fmla="*/ 5 h 43"/>
                <a:gd name="T90" fmla="*/ 21 w 124"/>
                <a:gd name="T91" fmla="*/ 9 h 43"/>
                <a:gd name="T92" fmla="*/ 8 w 124"/>
                <a:gd name="T93" fmla="*/ 16 h 43"/>
                <a:gd name="T94" fmla="*/ 8 w 124"/>
                <a:gd name="T95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43">
                  <a:moveTo>
                    <a:pt x="8" y="16"/>
                  </a:moveTo>
                  <a:lnTo>
                    <a:pt x="6" y="18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1" y="26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7"/>
                  </a:lnTo>
                  <a:lnTo>
                    <a:pt x="6" y="40"/>
                  </a:lnTo>
                  <a:lnTo>
                    <a:pt x="8" y="42"/>
                  </a:lnTo>
                  <a:lnTo>
                    <a:pt x="12" y="43"/>
                  </a:lnTo>
                  <a:lnTo>
                    <a:pt x="16" y="43"/>
                  </a:lnTo>
                  <a:lnTo>
                    <a:pt x="20" y="43"/>
                  </a:lnTo>
                  <a:lnTo>
                    <a:pt x="23" y="42"/>
                  </a:lnTo>
                  <a:lnTo>
                    <a:pt x="33" y="37"/>
                  </a:lnTo>
                  <a:lnTo>
                    <a:pt x="42" y="33"/>
                  </a:lnTo>
                  <a:lnTo>
                    <a:pt x="52" y="31"/>
                  </a:lnTo>
                  <a:lnTo>
                    <a:pt x="62" y="30"/>
                  </a:lnTo>
                  <a:lnTo>
                    <a:pt x="73" y="31"/>
                  </a:lnTo>
                  <a:lnTo>
                    <a:pt x="83" y="33"/>
                  </a:lnTo>
                  <a:lnTo>
                    <a:pt x="92" y="37"/>
                  </a:lnTo>
                  <a:lnTo>
                    <a:pt x="102" y="42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10" y="43"/>
                  </a:lnTo>
                  <a:lnTo>
                    <a:pt x="113" y="43"/>
                  </a:lnTo>
                  <a:lnTo>
                    <a:pt x="116" y="42"/>
                  </a:lnTo>
                  <a:lnTo>
                    <a:pt x="118" y="41"/>
                  </a:lnTo>
                  <a:lnTo>
                    <a:pt x="121" y="39"/>
                  </a:lnTo>
                  <a:lnTo>
                    <a:pt x="123" y="37"/>
                  </a:lnTo>
                  <a:lnTo>
                    <a:pt x="124" y="33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6"/>
                  </a:lnTo>
                  <a:lnTo>
                    <a:pt x="123" y="22"/>
                  </a:lnTo>
                  <a:lnTo>
                    <a:pt x="122" y="20"/>
                  </a:lnTo>
                  <a:lnTo>
                    <a:pt x="119" y="18"/>
                  </a:lnTo>
                  <a:lnTo>
                    <a:pt x="117" y="16"/>
                  </a:lnTo>
                  <a:lnTo>
                    <a:pt x="104" y="9"/>
                  </a:lnTo>
                  <a:lnTo>
                    <a:pt x="91" y="5"/>
                  </a:lnTo>
                  <a:lnTo>
                    <a:pt x="76" y="1"/>
                  </a:lnTo>
                  <a:lnTo>
                    <a:pt x="62" y="0"/>
                  </a:lnTo>
                  <a:lnTo>
                    <a:pt x="49" y="1"/>
                  </a:lnTo>
                  <a:lnTo>
                    <a:pt x="34" y="5"/>
                  </a:lnTo>
                  <a:lnTo>
                    <a:pt x="21" y="9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583641" y="0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sp>
        <p:nvSpPr>
          <p:cNvPr id="48" name="Rectángulo 3">
            <a:extLst>
              <a:ext uri="{FF2B5EF4-FFF2-40B4-BE49-F238E27FC236}">
                <a16:creationId xmlns:a16="http://schemas.microsoft.com/office/drawing/2014/main" id="{FA1C4A1E-F46D-4688-BD06-FEFF576FDC12}"/>
              </a:ext>
            </a:extLst>
          </p:cNvPr>
          <p:cNvSpPr/>
          <p:nvPr/>
        </p:nvSpPr>
        <p:spPr>
          <a:xfrm>
            <a:off x="8196808" y="4428171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are in Group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531555" y="817227"/>
            <a:ext cx="1136280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atur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Local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Cloud Sharing </a:t>
            </a:r>
            <a:endParaRPr lang="en-US" sz="40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Cross Platform Sharing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-13329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791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cal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 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cal Sharing-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-(P2P) Chatt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	- (P2P) File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-(P2P) App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- (Group) Files and Apps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092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79D180B-E8EE-45AB-BB25-61586081F3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953" y="0"/>
            <a:ext cx="316523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F68BC56-E1A6-48D6-A56B-6EB1B75EB2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888" y="0"/>
            <a:ext cx="3165231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8F559E-E01A-4BF6-9B8E-35A4104274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114" y="0"/>
            <a:ext cx="31652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50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D3DA31-B320-40FD-934A-3F702985C0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976" y="0"/>
            <a:ext cx="3161109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9197C-F55A-4DCD-88E8-B3CC6BDCB5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143" y="0"/>
            <a:ext cx="3161109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E4B337-4645-45C9-99B1-B9DF9DC79F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809" y="0"/>
            <a:ext cx="31652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639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4D61DF-E5F7-4B62-B59F-63998B3B0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9559" y="0"/>
            <a:ext cx="316110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9F8CDF-5662-4448-B7B3-4BB9D4A3A3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800" y="0"/>
            <a:ext cx="3161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095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F29F758-274F-4377-BD51-4DAB67850F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4888" y="0"/>
            <a:ext cx="3165231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9BD3B3A-F3A4-45C1-AF95-6BF6239859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887" y="0"/>
            <a:ext cx="31652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194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oud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lang="en-US" sz="16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hentication (Google, Email-Verification)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 Public Files (Here anyone can upload files by giving the file some tags and          anyone search file using tags)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 Private Files (Here You can save your Files privately)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 Share Private Files (By generating key of your private file You can share your private file)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1</TotalTime>
  <Words>201</Words>
  <Application>Microsoft Office PowerPoint</Application>
  <PresentationFormat>Widescreen</PresentationFormat>
  <Paragraphs>39</Paragraphs>
  <Slides>18</Slides>
  <Notes>1</Notes>
  <HiddenSlides>0</HiddenSlides>
  <MMClips>4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Lucida Sans</vt:lpstr>
      <vt:lpstr>Modern No. 20</vt:lpstr>
      <vt:lpstr>Segoe UI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thinking template</dc:title>
  <dc:creator>Muhammad Zaenuri - 24slides</dc:creator>
  <cp:keywords>24slides</cp:keywords>
  <cp:lastModifiedBy>mohd sahil</cp:lastModifiedBy>
  <cp:revision>270</cp:revision>
  <dcterms:created xsi:type="dcterms:W3CDTF">2019-08-22T03:24:11Z</dcterms:created>
  <dcterms:modified xsi:type="dcterms:W3CDTF">2020-11-02T15:30:44Z</dcterms:modified>
</cp:coreProperties>
</file>